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tags/tag54.xml" ContentType="application/vnd.openxmlformats-officedocument.presentationml.tags+xml"/>
  <Override PartName="/ppt/notesSlides/notesSlide4.xml" ContentType="application/vnd.openxmlformats-officedocument.presentationml.notesSlide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notesSlides/notesSlide8.xml" ContentType="application/vnd.openxmlformats-officedocument.presentationml.notesSlide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6"/>
  </p:notesMasterIdLst>
  <p:sldIdLst>
    <p:sldId id="291" r:id="rId2"/>
    <p:sldId id="358" r:id="rId3"/>
    <p:sldId id="350" r:id="rId4"/>
    <p:sldId id="359" r:id="rId5"/>
    <p:sldId id="360" r:id="rId6"/>
    <p:sldId id="361" r:id="rId7"/>
    <p:sldId id="362" r:id="rId8"/>
    <p:sldId id="363" r:id="rId9"/>
    <p:sldId id="364" r:id="rId10"/>
    <p:sldId id="365" r:id="rId11"/>
    <p:sldId id="370" r:id="rId12"/>
    <p:sldId id="355" r:id="rId13"/>
    <p:sldId id="300" r:id="rId14"/>
    <p:sldId id="367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018" userDrawn="1">
          <p15:clr>
            <a:srgbClr val="A4A3A4"/>
          </p15:clr>
        </p15:guide>
        <p15:guide id="3" pos="1882" userDrawn="1">
          <p15:clr>
            <a:srgbClr val="A4A3A4"/>
          </p15:clr>
        </p15:guide>
        <p15:guide id="4" pos="3742" userDrawn="1">
          <p15:clr>
            <a:srgbClr val="A4A3A4"/>
          </p15:clr>
        </p15:guide>
        <p15:guide id="5" pos="3878" userDrawn="1">
          <p15:clr>
            <a:srgbClr val="A4A3A4"/>
          </p15:clr>
        </p15:guide>
        <p15:guide id="6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ljak, Gerhild (gerhild.leljak@uni-graz.at)" initials="LG(g" lastIdx="6" clrIdx="0">
    <p:extLst>
      <p:ext uri="{19B8F6BF-5375-455C-9EA6-DF929625EA0E}">
        <p15:presenceInfo xmlns:p15="http://schemas.microsoft.com/office/powerpoint/2012/main" userId="Leljak, Gerhild (gerhild.leljak@uni-graz.at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5E"/>
    <a:srgbClr val="D0AD00"/>
    <a:srgbClr val="FFD500"/>
    <a:srgbClr val="4B88C5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41"/>
  </p:normalViewPr>
  <p:slideViewPr>
    <p:cSldViewPr snapToGrid="0" showGuides="1">
      <p:cViewPr varScale="1">
        <p:scale>
          <a:sx n="149" d="100"/>
          <a:sy n="149" d="100"/>
        </p:scale>
        <p:origin x="540" y="120"/>
      </p:cViewPr>
      <p:guideLst>
        <p:guide pos="2018"/>
        <p:guide pos="1882"/>
        <p:guide pos="3742"/>
        <p:guide pos="3878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ider, Antonia (antonia.schneider@uni-graz.at)" userId="ed5554ce-1a86-43de-843f-7670fbeba1b4" providerId="ADAL" clId="{68BC6939-53F9-494A-9858-2A4E003C4812}"/>
    <pc:docChg chg="delSld">
      <pc:chgData name="Schneider, Antonia (antonia.schneider@uni-graz.at)" userId="ed5554ce-1a86-43de-843f-7670fbeba1b4" providerId="ADAL" clId="{68BC6939-53F9-494A-9858-2A4E003C4812}" dt="2025-10-14T10:58:46.843" v="1" actId="2696"/>
      <pc:docMkLst>
        <pc:docMk/>
      </pc:docMkLst>
      <pc:sldChg chg="del">
        <pc:chgData name="Schneider, Antonia (antonia.schneider@uni-graz.at)" userId="ed5554ce-1a86-43de-843f-7670fbeba1b4" providerId="ADAL" clId="{68BC6939-53F9-494A-9858-2A4E003C4812}" dt="2025-10-14T10:58:46.843" v="1" actId="2696"/>
        <pc:sldMkLst>
          <pc:docMk/>
          <pc:sldMk cId="3148381945" sldId="330"/>
        </pc:sldMkLst>
      </pc:sldChg>
      <pc:sldChg chg="del">
        <pc:chgData name="Schneider, Antonia (antonia.schneider@uni-graz.at)" userId="ed5554ce-1a86-43de-843f-7670fbeba1b4" providerId="ADAL" clId="{68BC6939-53F9-494A-9858-2A4E003C4812}" dt="2025-10-14T10:57:39.692" v="0" actId="2696"/>
        <pc:sldMkLst>
          <pc:docMk/>
          <pc:sldMk cId="1056185196" sldId="337"/>
        </pc:sldMkLst>
      </pc:sldChg>
      <pc:sldChg chg="del">
        <pc:chgData name="Schneider, Antonia (antonia.schneider@uni-graz.at)" userId="ed5554ce-1a86-43de-843f-7670fbeba1b4" providerId="ADAL" clId="{68BC6939-53F9-494A-9858-2A4E003C4812}" dt="2025-10-14T10:57:39.692" v="0" actId="2696"/>
        <pc:sldMkLst>
          <pc:docMk/>
          <pc:sldMk cId="905481272" sldId="338"/>
        </pc:sldMkLst>
      </pc:sldChg>
      <pc:sldChg chg="del">
        <pc:chgData name="Schneider, Antonia (antonia.schneider@uni-graz.at)" userId="ed5554ce-1a86-43de-843f-7670fbeba1b4" providerId="ADAL" clId="{68BC6939-53F9-494A-9858-2A4E003C4812}" dt="2025-10-14T10:57:39.692" v="0" actId="2696"/>
        <pc:sldMkLst>
          <pc:docMk/>
          <pc:sldMk cId="1146562498" sldId="34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B0AE08A-2FEE-FF40-B028-98DAACD0D537}" type="datetimeFigureOut">
              <a:rPr lang="de-AT" smtClean="0"/>
              <a:pPr/>
              <a:t>14.10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A84D0B55-8856-BE4C-826E-37D1517BB51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79936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550212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53378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5CA90-138F-5A0E-CF7A-EAB32B93C5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8BAC37A-ECF3-9A8F-8144-AEE20085F8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2020D07-7D30-229E-0AC1-1E429B0348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790FC2-038D-A13F-4C1C-E97EDE305E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5166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103621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91893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08617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49855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65482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14091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81886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466348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81748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58160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4D0B55-8856-BE4C-826E-37D1517BB516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32835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8B2E79D-05DA-B1B9-83E9-E6236F21B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219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2E79D-05DA-B1B9-83E9-E6236F21B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9696442C-AF3E-923E-2CB5-3A3A2A135AF3}"/>
              </a:ext>
            </a:extLst>
          </p:cNvPr>
          <p:cNvSpPr/>
          <p:nvPr userDrawn="1"/>
        </p:nvSpPr>
        <p:spPr>
          <a:xfrm>
            <a:off x="7993063" y="231775"/>
            <a:ext cx="900112" cy="79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AT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57B06E9-6E5A-C71C-B1A8-26D67DBB1D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42" b="20243"/>
          <a:stretch>
            <a:fillRect/>
          </a:stretch>
        </p:blipFill>
        <p:spPr>
          <a:xfrm>
            <a:off x="250825" y="1"/>
            <a:ext cx="8642349" cy="5143499"/>
          </a:xfrm>
          <a:custGeom>
            <a:avLst/>
            <a:gdLst>
              <a:gd name="connsiteX0" fmla="*/ 0 w 8642350"/>
              <a:gd name="connsiteY0" fmla="*/ 0 h 5143499"/>
              <a:gd name="connsiteX1" fmla="*/ 8642350 w 8642350"/>
              <a:gd name="connsiteY1" fmla="*/ 0 h 5143499"/>
              <a:gd name="connsiteX2" fmla="*/ 8642350 w 8642350"/>
              <a:gd name="connsiteY2" fmla="*/ 5143499 h 5143499"/>
              <a:gd name="connsiteX3" fmla="*/ 0 w 8642350"/>
              <a:gd name="connsiteY3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2350" h="5143499">
                <a:moveTo>
                  <a:pt x="0" y="0"/>
                </a:moveTo>
                <a:lnTo>
                  <a:pt x="8642350" y="0"/>
                </a:lnTo>
                <a:lnTo>
                  <a:pt x="8642350" y="5143499"/>
                </a:lnTo>
                <a:lnTo>
                  <a:pt x="0" y="5143499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D06BB8D-8466-7C58-596D-3919D48D2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7757" y="231775"/>
            <a:ext cx="4727277" cy="1116013"/>
          </a:xfrm>
        </p:spPr>
        <p:txBody>
          <a:bodyPr vert="horz"/>
          <a:lstStyle>
            <a:lvl1pPr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AT" noProof="0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64489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B490CA-A0CA-8839-5E32-9EF5A36AE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64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B490CA-A0CA-8839-5E32-9EF5A36AE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 11">
            <a:extLst>
              <a:ext uri="{FF2B5EF4-FFF2-40B4-BE49-F238E27FC236}">
                <a16:creationId xmlns:a16="http://schemas.microsoft.com/office/drawing/2014/main" id="{0ECC2ACB-0CF6-F62F-2981-A66DAFD706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-7402" y="1"/>
            <a:ext cx="7480544" cy="5143498"/>
          </a:xfrm>
          <a:custGeom>
            <a:avLst/>
            <a:gdLst>
              <a:gd name="connsiteX0" fmla="*/ 0 w 7480544"/>
              <a:gd name="connsiteY0" fmla="*/ 0 h 5143498"/>
              <a:gd name="connsiteX1" fmla="*/ 5450020 w 7480544"/>
              <a:gd name="connsiteY1" fmla="*/ 0 h 5143498"/>
              <a:gd name="connsiteX2" fmla="*/ 5496964 w 7480544"/>
              <a:gd name="connsiteY2" fmla="*/ 33383 h 5143498"/>
              <a:gd name="connsiteX3" fmla="*/ 7480544 w 7480544"/>
              <a:gd name="connsiteY3" fmla="*/ 3990506 h 5143498"/>
              <a:gd name="connsiteX4" fmla="*/ 7380218 w 7480544"/>
              <a:gd name="connsiteY4" fmla="*/ 4985718 h 5143498"/>
              <a:gd name="connsiteX5" fmla="*/ 7343803 w 7480544"/>
              <a:gd name="connsiteY5" fmla="*/ 5143498 h 5143498"/>
              <a:gd name="connsiteX6" fmla="*/ 5894455 w 7480544"/>
              <a:gd name="connsiteY6" fmla="*/ 5143498 h 5143498"/>
              <a:gd name="connsiteX7" fmla="*/ 5990353 w 7480544"/>
              <a:gd name="connsiteY7" fmla="*/ 4881485 h 5143498"/>
              <a:gd name="connsiteX8" fmla="*/ 6151585 w 7480544"/>
              <a:gd name="connsiteY8" fmla="*/ 3815033 h 5143498"/>
              <a:gd name="connsiteX9" fmla="*/ 2565299 w 7480544"/>
              <a:gd name="connsiteY9" fmla="*/ 228747 h 5143498"/>
              <a:gd name="connsiteX10" fmla="*/ 29412 w 7480544"/>
              <a:gd name="connsiteY10" fmla="*/ 1279146 h 5143498"/>
              <a:gd name="connsiteX11" fmla="*/ 0 w 7480544"/>
              <a:gd name="connsiteY11" fmla="*/ 1311507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80544" h="5143498">
                <a:moveTo>
                  <a:pt x="0" y="0"/>
                </a:moveTo>
                <a:lnTo>
                  <a:pt x="5450020" y="0"/>
                </a:lnTo>
                <a:lnTo>
                  <a:pt x="5496964" y="33383"/>
                </a:lnTo>
                <a:cubicBezTo>
                  <a:pt x="6701119" y="933916"/>
                  <a:pt x="7480544" y="2371189"/>
                  <a:pt x="7480544" y="3990506"/>
                </a:cubicBezTo>
                <a:cubicBezTo>
                  <a:pt x="7480544" y="4331415"/>
                  <a:pt x="7445999" y="4664256"/>
                  <a:pt x="7380218" y="4985718"/>
                </a:cubicBezTo>
                <a:lnTo>
                  <a:pt x="7343803" y="5143498"/>
                </a:lnTo>
                <a:lnTo>
                  <a:pt x="5894455" y="5143498"/>
                </a:lnTo>
                <a:lnTo>
                  <a:pt x="5990353" y="4881485"/>
                </a:lnTo>
                <a:cubicBezTo>
                  <a:pt x="6095137" y="4544593"/>
                  <a:pt x="6151585" y="4186405"/>
                  <a:pt x="6151585" y="3815033"/>
                </a:cubicBezTo>
                <a:cubicBezTo>
                  <a:pt x="6151585" y="1834382"/>
                  <a:pt x="4545950" y="228747"/>
                  <a:pt x="2565299" y="228747"/>
                </a:cubicBezTo>
                <a:cubicBezTo>
                  <a:pt x="1574974" y="228747"/>
                  <a:pt x="678402" y="630156"/>
                  <a:pt x="29412" y="1279146"/>
                </a:cubicBezTo>
                <a:lnTo>
                  <a:pt x="0" y="131150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143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AT" dirty="0"/>
          </a:p>
        </p:txBody>
      </p:sp>
      <p:sp>
        <p:nvSpPr>
          <p:cNvPr id="8" name="Freihandform 7">
            <a:extLst>
              <a:ext uri="{FF2B5EF4-FFF2-40B4-BE49-F238E27FC236}">
                <a16:creationId xmlns:a16="http://schemas.microsoft.com/office/drawing/2014/main" id="{80B62F17-2F9F-19EB-10AC-9C57C5DA20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011680" y="1347787"/>
            <a:ext cx="7132320" cy="3311527"/>
          </a:xfrm>
          <a:custGeom>
            <a:avLst/>
            <a:gdLst>
              <a:gd name="connsiteX0" fmla="*/ 1696720 w 7132320"/>
              <a:gd name="connsiteY0" fmla="*/ 0 h 3311527"/>
              <a:gd name="connsiteX1" fmla="*/ 7132320 w 7132320"/>
              <a:gd name="connsiteY1" fmla="*/ 0 h 3311527"/>
              <a:gd name="connsiteX2" fmla="*/ 7132320 w 7132320"/>
              <a:gd name="connsiteY2" fmla="*/ 3311525 h 3311527"/>
              <a:gd name="connsiteX3" fmla="*/ 1696720 w 7132320"/>
              <a:gd name="connsiteY3" fmla="*/ 3311525 h 3311527"/>
              <a:gd name="connsiteX4" fmla="*/ 1696720 w 7132320"/>
              <a:gd name="connsiteY4" fmla="*/ 3310452 h 3311527"/>
              <a:gd name="connsiteX5" fmla="*/ 1675181 w 7132320"/>
              <a:gd name="connsiteY5" fmla="*/ 3311527 h 3311527"/>
              <a:gd name="connsiteX6" fmla="*/ 0 w 7132320"/>
              <a:gd name="connsiteY6" fmla="*/ 1655764 h 3311527"/>
              <a:gd name="connsiteX7" fmla="*/ 1675181 w 7132320"/>
              <a:gd name="connsiteY7" fmla="*/ 1 h 3311527"/>
              <a:gd name="connsiteX8" fmla="*/ 1696720 w 7132320"/>
              <a:gd name="connsiteY8" fmla="*/ 1076 h 3311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2320" h="3311527">
                <a:moveTo>
                  <a:pt x="1696720" y="0"/>
                </a:moveTo>
                <a:lnTo>
                  <a:pt x="7132320" y="0"/>
                </a:lnTo>
                <a:lnTo>
                  <a:pt x="7132320" y="3311525"/>
                </a:lnTo>
                <a:lnTo>
                  <a:pt x="1696720" y="3311525"/>
                </a:lnTo>
                <a:lnTo>
                  <a:pt x="1696720" y="3310452"/>
                </a:lnTo>
                <a:lnTo>
                  <a:pt x="1675181" y="3311527"/>
                </a:lnTo>
                <a:cubicBezTo>
                  <a:pt x="750004" y="3311527"/>
                  <a:pt x="0" y="2570217"/>
                  <a:pt x="0" y="1655764"/>
                </a:cubicBezTo>
                <a:cubicBezTo>
                  <a:pt x="0" y="741311"/>
                  <a:pt x="750004" y="1"/>
                  <a:pt x="1675181" y="1"/>
                </a:cubicBezTo>
                <a:lnTo>
                  <a:pt x="1696720" y="1076"/>
                </a:lnTo>
                <a:close/>
              </a:path>
            </a:pathLst>
          </a:custGeom>
          <a:solidFill>
            <a:schemeClr val="accent1">
              <a:alpha val="6102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AT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C7360334-B1DE-5DE4-596E-018105675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098257" y="2483008"/>
            <a:ext cx="1080000" cy="1080000"/>
          </a:xfrm>
          <a:prstGeom prst="ellipse">
            <a:avLst/>
          </a:prstGeom>
          <a:solidFill>
            <a:schemeClr val="bg1"/>
          </a:solidFill>
          <a:ln w="2286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24417D-38A2-E88C-5850-6C8738355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935" y="1347788"/>
            <a:ext cx="3739989" cy="2116084"/>
          </a:xfrm>
        </p:spPr>
        <p:txBody>
          <a:bodyPr vert="horz" anchor="b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8BEF358D-561D-7E6E-489D-7EF095436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156" y="3563008"/>
            <a:ext cx="3734019" cy="1096305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90228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F9EF01-0B5F-7B3D-F8E0-1B43F6A29D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07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F9EF01-0B5F-7B3D-F8E0-1B43F6A29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EE71916-8D56-7B2F-4AA6-4260C4876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156" y="2112580"/>
            <a:ext cx="3734019" cy="1345323"/>
          </a:xfrm>
        </p:spPr>
        <p:txBody>
          <a:bodyPr vert="horz" anchor="b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1A09318-D60D-6E2A-D7D6-9744650D8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156" y="3563008"/>
            <a:ext cx="3734019" cy="1096305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B3039F78-3CE7-544D-1710-02B140FFD3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7993064" cy="5143500"/>
          </a:xfrm>
          <a:custGeom>
            <a:avLst/>
            <a:gdLst>
              <a:gd name="connsiteX0" fmla="*/ 0 w 7905759"/>
              <a:gd name="connsiteY0" fmla="*/ 0 h 5143500"/>
              <a:gd name="connsiteX1" fmla="*/ 7905759 w 7905759"/>
              <a:gd name="connsiteY1" fmla="*/ 0 h 5143500"/>
              <a:gd name="connsiteX2" fmla="*/ 7834823 w 7905759"/>
              <a:gd name="connsiteY2" fmla="*/ 16229 h 5143500"/>
              <a:gd name="connsiteX3" fmla="*/ 4548479 w 7905759"/>
              <a:gd name="connsiteY3" fmla="*/ 4222556 h 5143500"/>
              <a:gd name="connsiteX4" fmla="*/ 4637491 w 7905759"/>
              <a:gd name="connsiteY4" fmla="*/ 5097835 h 5143500"/>
              <a:gd name="connsiteX5" fmla="*/ 4649337 w 7905759"/>
              <a:gd name="connsiteY5" fmla="*/ 5143500 h 5143500"/>
              <a:gd name="connsiteX6" fmla="*/ 0 w 7905759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905759" h="5143500">
                <a:moveTo>
                  <a:pt x="0" y="0"/>
                </a:moveTo>
                <a:lnTo>
                  <a:pt x="7905759" y="0"/>
                </a:lnTo>
                <a:lnTo>
                  <a:pt x="7834823" y="16229"/>
                </a:lnTo>
                <a:cubicBezTo>
                  <a:pt x="5944952" y="498228"/>
                  <a:pt x="4548479" y="2198733"/>
                  <a:pt x="4548479" y="4222556"/>
                </a:cubicBezTo>
                <a:cubicBezTo>
                  <a:pt x="4548479" y="4522382"/>
                  <a:pt x="4579129" y="4815112"/>
                  <a:pt x="4637491" y="5097835"/>
                </a:cubicBezTo>
                <a:lnTo>
                  <a:pt x="4649337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89406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FF684A-76C5-8CB0-66F2-DBAA56F00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72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FF684A-76C5-8CB0-66F2-DBAA56F00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90F7F22-5C8F-F681-3353-F05C1DCC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313" y="1347789"/>
            <a:ext cx="3852862" cy="2108334"/>
          </a:xfrm>
        </p:spPr>
        <p:txBody>
          <a:bodyPr vert="horz" anchor="b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29C0138-5FFE-2C58-5342-42D18DCAA2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572000" cy="5158299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2010C4CE-4674-FDBC-98A6-FD2D6BE52E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rot="16200000" flipH="1">
            <a:off x="937669" y="1030467"/>
            <a:ext cx="4664798" cy="2603865"/>
          </a:xfrm>
          <a:custGeom>
            <a:avLst/>
            <a:gdLst>
              <a:gd name="connsiteX0" fmla="*/ 0 w 4649999"/>
              <a:gd name="connsiteY0" fmla="*/ 1532685 h 2603865"/>
              <a:gd name="connsiteX1" fmla="*/ 0 w 4649999"/>
              <a:gd name="connsiteY1" fmla="*/ 0 h 2603865"/>
              <a:gd name="connsiteX2" fmla="*/ 195396 w 4649999"/>
              <a:gd name="connsiteY2" fmla="*/ 14841 h 2603865"/>
              <a:gd name="connsiteX3" fmla="*/ 4548831 w 4649999"/>
              <a:gd name="connsiteY3" fmla="*/ 2463996 h 2603865"/>
              <a:gd name="connsiteX4" fmla="*/ 4649999 w 4649999"/>
              <a:gd name="connsiteY4" fmla="*/ 2603865 h 2603865"/>
              <a:gd name="connsiteX5" fmla="*/ 2561285 w 4649999"/>
              <a:gd name="connsiteY5" fmla="*/ 2603865 h 2603865"/>
              <a:gd name="connsiteX6" fmla="*/ 2418248 w 4649999"/>
              <a:gd name="connsiteY6" fmla="*/ 2483655 h 2603865"/>
              <a:gd name="connsiteX7" fmla="*/ 28453 w 4649999"/>
              <a:gd name="connsiteY7" fmla="*/ 1534848 h 260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9999" h="2603865">
                <a:moveTo>
                  <a:pt x="0" y="1532685"/>
                </a:moveTo>
                <a:lnTo>
                  <a:pt x="0" y="0"/>
                </a:lnTo>
                <a:lnTo>
                  <a:pt x="195396" y="14841"/>
                </a:lnTo>
                <a:cubicBezTo>
                  <a:pt x="1970903" y="194943"/>
                  <a:pt x="3527048" y="1116205"/>
                  <a:pt x="4548831" y="2463996"/>
                </a:cubicBezTo>
                <a:lnTo>
                  <a:pt x="4649999" y="2603865"/>
                </a:lnTo>
                <a:lnTo>
                  <a:pt x="2561285" y="2603865"/>
                </a:lnTo>
                <a:lnTo>
                  <a:pt x="2418248" y="2483655"/>
                </a:lnTo>
                <a:cubicBezTo>
                  <a:pt x="1742239" y="1965367"/>
                  <a:pt x="922151" y="1625608"/>
                  <a:pt x="28453" y="1534848"/>
                </a:cubicBezTo>
                <a:close/>
              </a:path>
            </a:pathLst>
          </a:custGeom>
          <a:solidFill>
            <a:schemeClr val="bg1">
              <a:alpha val="60057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</a:t>
            </a:r>
          </a:p>
        </p:txBody>
      </p:sp>
      <p:sp>
        <p:nvSpPr>
          <p:cNvPr id="4" name="Textplatzhalter 17">
            <a:extLst>
              <a:ext uri="{FF2B5EF4-FFF2-40B4-BE49-F238E27FC236}">
                <a16:creationId xmlns:a16="http://schemas.microsoft.com/office/drawing/2014/main" id="{B4401948-A208-9441-2280-69D9471305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0314" y="3563008"/>
            <a:ext cx="3852862" cy="1096305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85156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+Fa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DD3A0AC-E126-500E-1770-B19D6297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448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D3A0AC-E126-500E-1770-B19D6297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2CAF33B-E16F-460C-7D6C-65941D66F0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" y="1737814"/>
            <a:ext cx="2590209" cy="3405686"/>
          </a:xfrm>
          <a:custGeom>
            <a:avLst/>
            <a:gdLst>
              <a:gd name="connsiteX0" fmla="*/ 628209 w 2590209"/>
              <a:gd name="connsiteY0" fmla="*/ 0 h 3405686"/>
              <a:gd name="connsiteX1" fmla="*/ 2590209 w 2590209"/>
              <a:gd name="connsiteY1" fmla="*/ 1962000 h 3405686"/>
              <a:gd name="connsiteX2" fmla="*/ 2015553 w 2590209"/>
              <a:gd name="connsiteY2" fmla="*/ 3349344 h 3405686"/>
              <a:gd name="connsiteX3" fmla="*/ 1953561 w 2590209"/>
              <a:gd name="connsiteY3" fmla="*/ 3405686 h 3405686"/>
              <a:gd name="connsiteX4" fmla="*/ 0 w 2590209"/>
              <a:gd name="connsiteY4" fmla="*/ 3405686 h 3405686"/>
              <a:gd name="connsiteX5" fmla="*/ 0 w 2590209"/>
              <a:gd name="connsiteY5" fmla="*/ 104594 h 3405686"/>
              <a:gd name="connsiteX6" fmla="*/ 44770 w 2590209"/>
              <a:gd name="connsiteY6" fmla="*/ 88208 h 3405686"/>
              <a:gd name="connsiteX7" fmla="*/ 628209 w 2590209"/>
              <a:gd name="connsiteY7" fmla="*/ 0 h 3405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0209" h="3405686">
                <a:moveTo>
                  <a:pt x="628209" y="0"/>
                </a:moveTo>
                <a:cubicBezTo>
                  <a:pt x="1711792" y="0"/>
                  <a:pt x="2590209" y="878417"/>
                  <a:pt x="2590209" y="1962000"/>
                </a:cubicBezTo>
                <a:cubicBezTo>
                  <a:pt x="2590209" y="2503792"/>
                  <a:pt x="2370605" y="2994292"/>
                  <a:pt x="2015553" y="3349344"/>
                </a:cubicBezTo>
                <a:lnTo>
                  <a:pt x="1953561" y="3405686"/>
                </a:lnTo>
                <a:lnTo>
                  <a:pt x="0" y="3405686"/>
                </a:lnTo>
                <a:lnTo>
                  <a:pt x="0" y="104594"/>
                </a:lnTo>
                <a:lnTo>
                  <a:pt x="44770" y="88208"/>
                </a:lnTo>
                <a:cubicBezTo>
                  <a:pt x="229078" y="30882"/>
                  <a:pt x="425037" y="0"/>
                  <a:pt x="62820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BA92E03F-6BE3-EE71-DCF6-97CDCE6A6B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131889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74F4A7-38F8-CD87-3DB7-BE960AAE9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492A5F-F696-86DF-EBA8-C182A39D4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05D451-BB60-410B-8D7E-4928939157C8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814326F-0479-B376-00A0-3028068C0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36C3D-A59B-F777-4AE8-A5E6CBB59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968851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Hervorhe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46E1C51-47FA-5311-69D8-B8870F00E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3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6E1C51-47FA-5311-69D8-B8870F00E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 4">
            <a:extLst>
              <a:ext uri="{FF2B5EF4-FFF2-40B4-BE49-F238E27FC236}">
                <a16:creationId xmlns:a16="http://schemas.microsoft.com/office/drawing/2014/main" id="{2AE61713-A4DE-3BCC-7A23-A4C395DEC563}"/>
              </a:ext>
            </a:extLst>
          </p:cNvPr>
          <p:cNvSpPr/>
          <p:nvPr userDrawn="1"/>
        </p:nvSpPr>
        <p:spPr>
          <a:xfrm>
            <a:off x="-1" y="2571749"/>
            <a:ext cx="8893176" cy="2576466"/>
          </a:xfrm>
          <a:custGeom>
            <a:avLst/>
            <a:gdLst>
              <a:gd name="connsiteX0" fmla="*/ 0 w 8893176"/>
              <a:gd name="connsiteY0" fmla="*/ 0 h 2576466"/>
              <a:gd name="connsiteX1" fmla="*/ 7596188 w 8893176"/>
              <a:gd name="connsiteY1" fmla="*/ 0 h 2576466"/>
              <a:gd name="connsiteX2" fmla="*/ 7596188 w 8893176"/>
              <a:gd name="connsiteY2" fmla="*/ 40 h 2576466"/>
              <a:gd name="connsiteX3" fmla="*/ 7596982 w 8893176"/>
              <a:gd name="connsiteY3" fmla="*/ 0 h 2576466"/>
              <a:gd name="connsiteX4" fmla="*/ 8893176 w 8893176"/>
              <a:gd name="connsiteY4" fmla="*/ 1288233 h 2576466"/>
              <a:gd name="connsiteX5" fmla="*/ 7596982 w 8893176"/>
              <a:gd name="connsiteY5" fmla="*/ 2576466 h 2576466"/>
              <a:gd name="connsiteX6" fmla="*/ 7503011 w 8893176"/>
              <a:gd name="connsiteY6" fmla="*/ 2571750 h 2576466"/>
              <a:gd name="connsiteX7" fmla="*/ 0 w 8893176"/>
              <a:gd name="connsiteY7" fmla="*/ 2571750 h 257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3176" h="2576466">
                <a:moveTo>
                  <a:pt x="0" y="0"/>
                </a:moveTo>
                <a:lnTo>
                  <a:pt x="7596188" y="0"/>
                </a:lnTo>
                <a:lnTo>
                  <a:pt x="7596188" y="40"/>
                </a:lnTo>
                <a:lnTo>
                  <a:pt x="7596982" y="0"/>
                </a:lnTo>
                <a:cubicBezTo>
                  <a:pt x="8312850" y="0"/>
                  <a:pt x="8893176" y="576762"/>
                  <a:pt x="8893176" y="1288233"/>
                </a:cubicBezTo>
                <a:cubicBezTo>
                  <a:pt x="8893176" y="1999704"/>
                  <a:pt x="8312850" y="2576466"/>
                  <a:pt x="7596982" y="2576466"/>
                </a:cubicBezTo>
                <a:lnTo>
                  <a:pt x="7503011" y="2571750"/>
                </a:lnTo>
                <a:lnTo>
                  <a:pt x="0" y="257175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C6DC01-B7C3-715F-C038-214C2AEAE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6049963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7698575-E094-49F9-4E7E-D754B89F35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347788"/>
            <a:ext cx="7742238" cy="1223961"/>
          </a:xfrm>
          <a:solidFill>
            <a:schemeClr val="bg1"/>
          </a:solidFill>
        </p:spPr>
        <p:txBody>
          <a:bodyPr lIns="0" tIns="0" rIns="108000" bIns="0"/>
          <a:lstStyle>
            <a:lvl1pPr rtl="0">
              <a:buClr>
                <a:schemeClr val="accent1"/>
              </a:buClr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1B53423-3FEC-54D5-A98F-2DD93BE63C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760785"/>
            <a:ext cx="7742238" cy="1898528"/>
          </a:xfrm>
          <a:noFill/>
        </p:spPr>
        <p:txBody>
          <a:bodyPr lIns="0" tIns="0" rIns="0" bIns="0"/>
          <a:lstStyle>
            <a:lvl1pPr marL="216000" indent="-216000" rtl="0">
              <a:buClr>
                <a:schemeClr val="tx1"/>
              </a:buClr>
              <a:buSzPct val="140000"/>
              <a:defRPr sz="1200"/>
            </a:lvl1pPr>
            <a:lvl2pPr marL="378000" indent="-180000" rtl="0">
              <a:buClr>
                <a:schemeClr val="tx1"/>
              </a:buClr>
              <a:defRPr sz="1200"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pic>
        <p:nvPicPr>
          <p:cNvPr id="9" name="Grafik 8" descr="Ein Bild, das Text, Screenshot, Schrift, Rechteck enthält.&#10;&#10;Automatisch generierte Beschreibung">
            <a:extLst>
              <a:ext uri="{FF2B5EF4-FFF2-40B4-BE49-F238E27FC236}">
                <a16:creationId xmlns:a16="http://schemas.microsoft.com/office/drawing/2014/main" id="{A21E007A-F162-0922-129A-B550A8A83A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6AF483B9-42FD-BAD9-A7C1-8015CD776B3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4507AF9D-2C1A-4267-BE2C-997CF8C8B78F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7439CE12-A7CA-8251-24D4-03C73FF629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3C3D1A3-10C7-CCD3-A4EE-4C4B251151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0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9" userDrawn="1">
          <p15:clr>
            <a:srgbClr val="FBAE40"/>
          </p15:clr>
        </p15:guide>
        <p15:guide id="2" pos="47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+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2C9B27-1F92-E3C4-DBBB-7A18185EF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966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C9B27-1F92-E3C4-DBBB-7A18185EF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A4AD07B-954B-5167-5BD1-674C42B83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4CF2C3A-85FF-02ED-B20E-B27E64BE4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29461" y="1719588"/>
            <a:ext cx="3273068" cy="3273068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A69DCD-8442-FA0F-93EF-E19AF835B1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708150"/>
            <a:ext cx="1728788" cy="864000"/>
          </a:xfrm>
          <a:solidFill>
            <a:schemeClr val="tx1"/>
          </a:solidFill>
        </p:spPr>
        <p:txBody>
          <a:bodyPr lIns="108000" tIns="72000" rIns="72000" bIns="72000"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07A1BF50-79F3-C934-D99B-44EE50E447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0825" y="2571750"/>
            <a:ext cx="1727198" cy="2087563"/>
          </a:xfrm>
          <a:solidFill>
            <a:schemeClr val="bg1">
              <a:alpha val="70000"/>
            </a:schemeClr>
          </a:solidFill>
        </p:spPr>
        <p:txBody>
          <a:bodyPr lIns="108000" tIns="144000" rIns="72000" bIns="72000"/>
          <a:lstStyle>
            <a:lvl1pPr marL="0" indent="0" rtl="0">
              <a:buNone/>
              <a:defRPr sz="14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636CC087-F4FF-D046-7509-316D98C6C9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9613" y="1708150"/>
            <a:ext cx="1728788" cy="864000"/>
          </a:xfrm>
          <a:solidFill>
            <a:schemeClr val="accent1"/>
          </a:solidFill>
        </p:spPr>
        <p:txBody>
          <a:bodyPr lIns="108000" tIns="72000" rIns="72000" bIns="72000"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CA7CD0E3-C58B-D941-7BDF-1BFBDA530C2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78023" y="2571749"/>
            <a:ext cx="1727198" cy="2087563"/>
          </a:xfrm>
          <a:solidFill>
            <a:schemeClr val="bg1">
              <a:alpha val="70000"/>
            </a:schemeClr>
          </a:solidFill>
        </p:spPr>
        <p:txBody>
          <a:bodyPr lIns="108000" tIns="144000" rIns="72000" bIns="72000"/>
          <a:lstStyle>
            <a:lvl1pPr marL="0" indent="0" rtl="0">
              <a:buNone/>
              <a:defRPr sz="14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4A13CEFF-9B17-9937-6D07-188CB6A153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08401" y="1708150"/>
            <a:ext cx="1728788" cy="864000"/>
          </a:xfrm>
          <a:solidFill>
            <a:schemeClr val="accent2"/>
          </a:solidFill>
        </p:spPr>
        <p:txBody>
          <a:bodyPr lIns="108000" tIns="72000" rIns="72000" bIns="72000"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89B71197-A678-1966-2C5C-CE8E268F266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05221" y="2571750"/>
            <a:ext cx="1727198" cy="2087561"/>
          </a:xfrm>
          <a:solidFill>
            <a:schemeClr val="bg1">
              <a:alpha val="70000"/>
            </a:schemeClr>
          </a:solidFill>
        </p:spPr>
        <p:txBody>
          <a:bodyPr lIns="108000" tIns="144000" rIns="72000" bIns="72000"/>
          <a:lstStyle>
            <a:lvl1pPr marL="0" indent="0" rtl="0">
              <a:buNone/>
              <a:defRPr sz="14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404C362D-3559-1E3E-AA21-44A9ECDAC5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37189" y="1708150"/>
            <a:ext cx="1728788" cy="864000"/>
          </a:xfrm>
          <a:solidFill>
            <a:schemeClr val="accent3"/>
          </a:solidFill>
        </p:spPr>
        <p:txBody>
          <a:bodyPr lIns="108000" tIns="72000" rIns="72000" bIns="72000"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D961F816-B370-45CE-FC90-651B4FD8B9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59617" y="2571752"/>
            <a:ext cx="1727198" cy="2087563"/>
          </a:xfrm>
          <a:solidFill>
            <a:schemeClr val="bg1">
              <a:alpha val="70000"/>
            </a:schemeClr>
          </a:solidFill>
        </p:spPr>
        <p:txBody>
          <a:bodyPr lIns="108000" tIns="144000" rIns="72000" bIns="72000"/>
          <a:lstStyle>
            <a:lvl1pPr marL="0" indent="0" rtl="0">
              <a:buNone/>
              <a:defRPr sz="14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2937EC05-43D0-6C1F-D12B-C1C72CE8B9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65977" y="1708150"/>
            <a:ext cx="1728788" cy="864000"/>
          </a:xfrm>
          <a:solidFill>
            <a:schemeClr val="accent4"/>
          </a:solidFill>
        </p:spPr>
        <p:txBody>
          <a:bodyPr lIns="108000" tIns="72000" rIns="72000" bIns="72000"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96CA2E42-955E-D911-CA16-E99218DFD6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32419" y="2571751"/>
            <a:ext cx="1727198" cy="2087560"/>
          </a:xfrm>
          <a:solidFill>
            <a:schemeClr val="bg1">
              <a:alpha val="70000"/>
            </a:schemeClr>
          </a:solidFill>
        </p:spPr>
        <p:txBody>
          <a:bodyPr lIns="108000" tIns="144000" rIns="72000" bIns="72000"/>
          <a:lstStyle>
            <a:lvl1pPr marL="0" indent="0" rtl="0">
              <a:buNone/>
              <a:defRPr sz="14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EDD42B-8E16-A405-F703-82C3CDC94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3D64B87-DAA4-43D7-BD41-3C2E42215C43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30CF44-488D-4331-F873-9C215C1A4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C676DA-990E-293B-DA01-D0AF25B3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83010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107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löck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D6B3CBA-5E67-217C-8AF0-001537552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435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B3CBA-5E67-217C-8AF0-001537552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9861A8C-E576-1C5A-70AA-1026367A56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300606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231776"/>
            <a:ext cx="6049963" cy="1110440"/>
          </a:xfrm>
        </p:spPr>
        <p:txBody>
          <a:bodyPr vert="horz" anchor="b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DD5B494-4B9E-DF55-A294-A27BB05631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9731" y="1347789"/>
            <a:ext cx="6050874" cy="874368"/>
          </a:xfrm>
          <a:noFill/>
        </p:spPr>
        <p:txBody>
          <a:bodyPr lIns="0" tIns="0" rIns="0" bIns="0" anchor="t" anchorCtr="0"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212CFF-91AD-92F0-A3A5-765EDBA478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2227730"/>
            <a:ext cx="6300605" cy="2079177"/>
          </a:xfrm>
          <a:solidFill>
            <a:schemeClr val="bg1">
              <a:alpha val="75000"/>
            </a:schemeClr>
          </a:solidFill>
        </p:spPr>
        <p:txBody>
          <a:bodyPr lIns="251999" tIns="72000" rIns="180000" bIns="72000" anchor="ctr" anchorCtr="0"/>
          <a:lstStyle>
            <a:lvl1pPr rtl="0">
              <a:defRPr sz="1600"/>
            </a:lvl1pPr>
            <a:lvl2pPr rtl="0"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CBA5CA-EB86-ED66-9FC4-0F7B08F020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00788" y="2220750"/>
            <a:ext cx="2593481" cy="702000"/>
          </a:xfrm>
          <a:solidFill>
            <a:schemeClr val="tx1"/>
          </a:solidFill>
        </p:spPr>
        <p:txBody>
          <a:bodyPr lIns="72000" tIns="72000" rIns="72000" bIns="72000" anchor="ctr" anchorCtr="0"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F005131D-1095-0EF4-BFA9-39A198974E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00788" y="2913532"/>
            <a:ext cx="2593663" cy="702000"/>
          </a:xfrm>
          <a:solidFill>
            <a:schemeClr val="accent1"/>
          </a:solidFill>
        </p:spPr>
        <p:txBody>
          <a:bodyPr lIns="72000" tIns="72000" rIns="72000" bIns="72000" anchor="ctr" anchorCtr="0"/>
          <a:lstStyle>
            <a:lvl1pPr rtl="0">
              <a:buClr>
                <a:schemeClr val="bg1"/>
              </a:buClr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EE702A8-24FF-1C77-0695-B4CDEAAB3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00788" y="3615532"/>
            <a:ext cx="2593663" cy="692781"/>
          </a:xfrm>
          <a:solidFill>
            <a:schemeClr val="accent2"/>
          </a:solidFill>
        </p:spPr>
        <p:txBody>
          <a:bodyPr lIns="72000" tIns="72000" rIns="72000" bIns="72000" anchor="ctr" anchorCtr="0"/>
          <a:lstStyle>
            <a:lvl1pPr rtl="0">
              <a:buClr>
                <a:schemeClr val="bg1"/>
              </a:buClr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2B574A9-7D1B-473C-8888-174E6A66B7BD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04052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löcke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F63B5B-93B4-2340-0C01-241E5FA6C4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225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63B5B-93B4-2340-0C01-241E5FA6C4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Freihandform 29">
            <a:extLst>
              <a:ext uri="{FF2B5EF4-FFF2-40B4-BE49-F238E27FC236}">
                <a16:creationId xmlns:a16="http://schemas.microsoft.com/office/drawing/2014/main" id="{3DEE2CE0-C437-6E72-56EC-0186BED2C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-7402" y="1"/>
            <a:ext cx="7480544" cy="5143498"/>
          </a:xfrm>
          <a:custGeom>
            <a:avLst/>
            <a:gdLst>
              <a:gd name="connsiteX0" fmla="*/ 0 w 7480544"/>
              <a:gd name="connsiteY0" fmla="*/ 0 h 5143498"/>
              <a:gd name="connsiteX1" fmla="*/ 5450020 w 7480544"/>
              <a:gd name="connsiteY1" fmla="*/ 0 h 5143498"/>
              <a:gd name="connsiteX2" fmla="*/ 5496964 w 7480544"/>
              <a:gd name="connsiteY2" fmla="*/ 33383 h 5143498"/>
              <a:gd name="connsiteX3" fmla="*/ 7480544 w 7480544"/>
              <a:gd name="connsiteY3" fmla="*/ 3990506 h 5143498"/>
              <a:gd name="connsiteX4" fmla="*/ 7380218 w 7480544"/>
              <a:gd name="connsiteY4" fmla="*/ 4985718 h 5143498"/>
              <a:gd name="connsiteX5" fmla="*/ 7343803 w 7480544"/>
              <a:gd name="connsiteY5" fmla="*/ 5143498 h 5143498"/>
              <a:gd name="connsiteX6" fmla="*/ 5894455 w 7480544"/>
              <a:gd name="connsiteY6" fmla="*/ 5143498 h 5143498"/>
              <a:gd name="connsiteX7" fmla="*/ 5990353 w 7480544"/>
              <a:gd name="connsiteY7" fmla="*/ 4881485 h 5143498"/>
              <a:gd name="connsiteX8" fmla="*/ 6151585 w 7480544"/>
              <a:gd name="connsiteY8" fmla="*/ 3815033 h 5143498"/>
              <a:gd name="connsiteX9" fmla="*/ 2565299 w 7480544"/>
              <a:gd name="connsiteY9" fmla="*/ 228747 h 5143498"/>
              <a:gd name="connsiteX10" fmla="*/ 29412 w 7480544"/>
              <a:gd name="connsiteY10" fmla="*/ 1279146 h 5143498"/>
              <a:gd name="connsiteX11" fmla="*/ 0 w 7480544"/>
              <a:gd name="connsiteY11" fmla="*/ 1311507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80544" h="5143498">
                <a:moveTo>
                  <a:pt x="0" y="0"/>
                </a:moveTo>
                <a:lnTo>
                  <a:pt x="5450020" y="0"/>
                </a:lnTo>
                <a:lnTo>
                  <a:pt x="5496964" y="33383"/>
                </a:lnTo>
                <a:cubicBezTo>
                  <a:pt x="6701119" y="933916"/>
                  <a:pt x="7480544" y="2371189"/>
                  <a:pt x="7480544" y="3990506"/>
                </a:cubicBezTo>
                <a:cubicBezTo>
                  <a:pt x="7480544" y="4331415"/>
                  <a:pt x="7445999" y="4664256"/>
                  <a:pt x="7380218" y="4985718"/>
                </a:cubicBezTo>
                <a:lnTo>
                  <a:pt x="7343803" y="5143498"/>
                </a:lnTo>
                <a:lnTo>
                  <a:pt x="5894455" y="5143498"/>
                </a:lnTo>
                <a:lnTo>
                  <a:pt x="5990353" y="4881485"/>
                </a:lnTo>
                <a:cubicBezTo>
                  <a:pt x="6095137" y="4544593"/>
                  <a:pt x="6151585" y="4186405"/>
                  <a:pt x="6151585" y="3815033"/>
                </a:cubicBezTo>
                <a:cubicBezTo>
                  <a:pt x="6151585" y="1834382"/>
                  <a:pt x="4545950" y="228747"/>
                  <a:pt x="2565299" y="228747"/>
                </a:cubicBezTo>
                <a:cubicBezTo>
                  <a:pt x="1574974" y="228747"/>
                  <a:pt x="678402" y="630156"/>
                  <a:pt x="29412" y="1279146"/>
                </a:cubicBezTo>
                <a:lnTo>
                  <a:pt x="0" y="131150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143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231776"/>
            <a:ext cx="6049963" cy="1116012"/>
          </a:xfrm>
        </p:spPr>
        <p:txBody>
          <a:bodyPr vert="horz" anchor="b" anchorCtr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DD5B494-4B9E-DF55-A294-A27BB05631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9731" y="1347789"/>
            <a:ext cx="6050874" cy="874368"/>
          </a:xfrm>
          <a:noFill/>
        </p:spPr>
        <p:txBody>
          <a:bodyPr lIns="0" tIns="0" rIns="0" bIns="0" anchor="t" anchorCtr="0"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 sz="1600"/>
            </a:lvl2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212CFF-91AD-92F0-A3A5-765EDBA478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2220750"/>
            <a:ext cx="6300605" cy="2086157"/>
          </a:xfrm>
          <a:solidFill>
            <a:schemeClr val="accent1"/>
          </a:solidFill>
        </p:spPr>
        <p:txBody>
          <a:bodyPr lIns="251999" tIns="72000" rIns="180000" bIns="72000" anchor="ctr" anchorCtr="0"/>
          <a:lstStyle>
            <a:lvl1pPr rtl="0">
              <a:defRPr sz="1600">
                <a:solidFill>
                  <a:schemeClr val="tx1"/>
                </a:solidFill>
              </a:defRPr>
            </a:lvl1pPr>
            <a:lvl2pPr rtl="0">
              <a:defRPr sz="1600"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CBA5CA-EB86-ED66-9FC4-0F7B08F020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00788" y="2220750"/>
            <a:ext cx="2593481" cy="702000"/>
          </a:xfrm>
          <a:solidFill>
            <a:schemeClr val="accent2"/>
          </a:solidFill>
        </p:spPr>
        <p:txBody>
          <a:bodyPr lIns="72000" tIns="72000" rIns="72000" bIns="72000" anchor="ctr" anchorCtr="0"/>
          <a:lstStyle>
            <a:lvl1pPr rtl="0">
              <a:buClr>
                <a:schemeClr val="bg1"/>
              </a:buCl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F005131D-1095-0EF4-BFA9-39A198974E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00788" y="2913532"/>
            <a:ext cx="2593663" cy="702000"/>
          </a:xfrm>
          <a:solidFill>
            <a:schemeClr val="accent5"/>
          </a:solidFill>
        </p:spPr>
        <p:txBody>
          <a:bodyPr lIns="72000" tIns="72000" rIns="72000" bIns="72000" anchor="ctr" anchorCtr="0"/>
          <a:lstStyle>
            <a:lvl1pPr rtl="0">
              <a:buClr>
                <a:schemeClr val="bg1"/>
              </a:buClr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EE702A8-24FF-1C77-0695-B4CDEAAB3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00788" y="3615532"/>
            <a:ext cx="2593663" cy="692781"/>
          </a:xfrm>
          <a:solidFill>
            <a:schemeClr val="accent6"/>
          </a:solidFill>
        </p:spPr>
        <p:txBody>
          <a:bodyPr lIns="72000" tIns="72000" rIns="72000" bIns="72000" anchor="ctr" anchorCtr="0"/>
          <a:lstStyle>
            <a:lvl1pPr rtl="0">
              <a:buClr>
                <a:schemeClr val="bg1"/>
              </a:buClr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13A4DF-E71E-4C51-9F6F-45E8F9F77F20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67175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7C3728F-41CF-CC0A-0B3A-973609E92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0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C3728F-41CF-CC0A-0B3A-973609E92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B2EF6C-F3B6-8252-81D5-71D3B37B6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4320000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4B0E51B-DFA0-4AE1-B598-B0D53966BE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1347788"/>
            <a:ext cx="3420000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2A2032E-A539-2EEE-2E0D-9D2FDD349450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604496" y="0"/>
            <a:ext cx="4539504" cy="4616376"/>
          </a:xfrm>
          <a:custGeom>
            <a:avLst/>
            <a:gdLst>
              <a:gd name="connsiteX0" fmla="*/ 0 w 4539504"/>
              <a:gd name="connsiteY0" fmla="*/ 0 h 4616376"/>
              <a:gd name="connsiteX1" fmla="*/ 1466533 w 4539504"/>
              <a:gd name="connsiteY1" fmla="*/ 0 h 4616376"/>
              <a:gd name="connsiteX2" fmla="*/ 1494241 w 4539504"/>
              <a:gd name="connsiteY2" fmla="*/ 155155 h 4616376"/>
              <a:gd name="connsiteX3" fmla="*/ 4434221 w 4539504"/>
              <a:gd name="connsiteY3" fmla="*/ 3022538 h 4616376"/>
              <a:gd name="connsiteX4" fmla="*/ 4539504 w 4539504"/>
              <a:gd name="connsiteY4" fmla="*/ 3036581 h 4616376"/>
              <a:gd name="connsiteX5" fmla="*/ 4539504 w 4539504"/>
              <a:gd name="connsiteY5" fmla="*/ 4616376 h 4616376"/>
              <a:gd name="connsiteX6" fmla="*/ 4480915 w 4539504"/>
              <a:gd name="connsiteY6" fmla="*/ 4609634 h 4616376"/>
              <a:gd name="connsiteX7" fmla="*/ 27856 w 4539504"/>
              <a:gd name="connsiteY7" fmla="*/ 219218 h 461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504" h="4616376">
                <a:moveTo>
                  <a:pt x="0" y="0"/>
                </a:moveTo>
                <a:lnTo>
                  <a:pt x="1466533" y="0"/>
                </a:lnTo>
                <a:lnTo>
                  <a:pt x="1494241" y="155155"/>
                </a:lnTo>
                <a:cubicBezTo>
                  <a:pt x="1793088" y="1615584"/>
                  <a:pt x="2961106" y="2759402"/>
                  <a:pt x="4434221" y="3022538"/>
                </a:cubicBezTo>
                <a:lnTo>
                  <a:pt x="4539504" y="3036581"/>
                </a:lnTo>
                <a:lnTo>
                  <a:pt x="4539504" y="4616376"/>
                </a:lnTo>
                <a:lnTo>
                  <a:pt x="4480915" y="4609634"/>
                </a:lnTo>
                <a:cubicBezTo>
                  <a:pt x="2192238" y="4293029"/>
                  <a:pt x="375997" y="2497670"/>
                  <a:pt x="27856" y="21921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3FC9E091-BAC6-FDDA-F8C8-DCE6337DF6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93964" y="1347787"/>
            <a:ext cx="3421063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B27ADE-DA57-CA10-3866-4E8E0E43D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AC27E1F-FE41-4D50-B4FD-E8E4ABE048EB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5697FCD-8C80-6876-DFA8-4C9CFB740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9526C5-D7AC-EF32-DB6B-D365A4419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14932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qu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CF2859C-A4A6-1CD7-7B38-63632710C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56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2859C-A4A6-1CD7-7B38-63632710C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C555E7-B8CC-FA8A-1244-A19E51BD7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898F68-A595-DA46-2D82-73ACE794C1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347788"/>
            <a:ext cx="4141788" cy="1223962"/>
          </a:xfrm>
        </p:spPr>
        <p:txBody>
          <a:bodyPr/>
          <a:lstStyle>
            <a:lvl1pPr marL="0" indent="0" rtl="0">
              <a:spcAft>
                <a:spcPts val="600"/>
              </a:spcAft>
              <a:buNone/>
              <a:defRPr/>
            </a:lvl1pPr>
            <a:lvl2pPr marL="288000" indent="0" rtl="0">
              <a:spcAft>
                <a:spcPts val="0"/>
              </a:spcAft>
              <a:buNone/>
              <a:defRPr/>
            </a:lvl2pPr>
            <a:lvl3pPr marL="677250" indent="0" rtl="0">
              <a:buNone/>
              <a:defRPr/>
            </a:lvl3pPr>
            <a:lvl4pPr marL="1020150" indent="0" rtl="0">
              <a:buNone/>
              <a:defRPr/>
            </a:lvl4pPr>
            <a:lvl5pPr marL="1363050" indent="0" rtl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8D3F24D-5C9A-6CC2-3C26-5E985CE9FD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1387" y="1347788"/>
            <a:ext cx="4141788" cy="1223962"/>
          </a:xfrm>
        </p:spPr>
        <p:txBody>
          <a:bodyPr/>
          <a:lstStyle>
            <a:lvl1pPr marL="0" indent="0" rtl="0">
              <a:spcAft>
                <a:spcPts val="600"/>
              </a:spcAft>
              <a:buNone/>
              <a:defRPr/>
            </a:lvl1pPr>
            <a:lvl2pPr marL="288000" indent="0" rtl="0">
              <a:spcAft>
                <a:spcPts val="0"/>
              </a:spcAft>
              <a:buNone/>
              <a:defRPr/>
            </a:lvl2pPr>
            <a:lvl3pPr marL="677250" indent="0" rtl="0">
              <a:buNone/>
              <a:defRPr/>
            </a:lvl3pPr>
            <a:lvl4pPr marL="1020150" indent="0" rtl="0">
              <a:buNone/>
              <a:defRPr/>
            </a:lvl4pPr>
            <a:lvl5pPr marL="1363050" indent="0" rtl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D326836-8878-4C31-AB23-071B6D5019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0825" y="2571750"/>
            <a:ext cx="8642349" cy="2087563"/>
          </a:xfrm>
          <a:noFill/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2B5DD95-F585-34FC-E77E-A400FBC869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3761" y="4438185"/>
            <a:ext cx="3988852" cy="221128"/>
          </a:xfrm>
        </p:spPr>
        <p:txBody>
          <a:bodyPr/>
          <a:lstStyle>
            <a:lvl1pPr marL="0" indent="0" algn="l" rtl="0"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E75162-94D2-92EA-1E78-FACDCDD2B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B7E6DC7-3C68-4FA0-9D4E-F2D8A43894AB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AD5116-14D4-51BD-044A-2F8676860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DE0354-154E-150C-4C82-A48AF0A4C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67190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  <p15:guide id="2" pos="299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 Un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D074E79-6C47-0198-BB3C-35B05E2CD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389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74E79-6C47-0198-BB3C-35B05E2CD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5D1E07D-BE97-F33E-51D3-C87618DB885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C4B1025-C982-46FF-4D99-6E4C2D011D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131889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l,,</a:t>
            </a:r>
            <a:r>
              <a:rPr lang="de-AT" dirty="0" err="1"/>
              <a:t>öääö</a:t>
            </a:r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2571750"/>
            <a:ext cx="9143999" cy="2571750"/>
          </a:xfrm>
          <a:gradFill flip="none" rotWithShape="1">
            <a:gsLst>
              <a:gs pos="50000">
                <a:schemeClr val="bg1">
                  <a:alpha val="60411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</p:spPr>
        <p:txBody>
          <a:bodyPr vert="horz" lIns="251999" tIns="324000" bIns="324000" anchor="t" anchorCtr="0">
            <a:noAutofit/>
          </a:bodyPr>
          <a:lstStyle>
            <a:lvl1pPr algn="l" rtl="0"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Bildplatzhalter 5">
            <a:extLst>
              <a:ext uri="{FF2B5EF4-FFF2-40B4-BE49-F238E27FC236}">
                <a16:creationId xmlns:a16="http://schemas.microsoft.com/office/drawing/2014/main" id="{D6B316C2-EEE8-3B1A-6F15-C403E566FE6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40314" y="-1"/>
            <a:ext cx="4103686" cy="1347789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Logo Institut</a:t>
            </a:r>
          </a:p>
        </p:txBody>
      </p:sp>
    </p:spTree>
    <p:extLst>
      <p:ext uri="{BB962C8B-B14F-4D97-AF65-F5344CB8AC3E}">
        <p14:creationId xmlns:p14="http://schemas.microsoft.com/office/powerpoint/2010/main" val="3386142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703" userDrawn="1">
          <p15:clr>
            <a:srgbClr val="FBAE40"/>
          </p15:clr>
        </p15:guide>
        <p15:guide id="6" pos="317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qu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2CAAA7-050A-1FA0-4811-E84A0FE572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280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CAAA7-050A-1FA0-4811-E84A0FE57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BCE9464-2473-CC6C-309E-7E03CBE17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B3897CD-731A-5177-A9F2-5C86807D38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5" y="1347787"/>
            <a:ext cx="4141788" cy="1908175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A7E89B8-42D6-F01C-666D-3B5033BF67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3303431"/>
            <a:ext cx="4141788" cy="204944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/>
            </a:lvl1pPr>
            <a:lvl2pPr marL="288000" indent="0">
              <a:spcAft>
                <a:spcPts val="0"/>
              </a:spcAft>
              <a:buNone/>
              <a:defRPr/>
            </a:lvl2pPr>
            <a:lvl3pPr marL="677250" indent="0">
              <a:buNone/>
              <a:defRPr/>
            </a:lvl3pPr>
            <a:lvl4pPr marL="1020150" indent="0">
              <a:buNone/>
              <a:defRPr/>
            </a:lvl4pPr>
            <a:lvl5pPr marL="1363050" indent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D38240B2-5E24-BDE7-2754-055AFDD80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825" y="3508376"/>
            <a:ext cx="4141788" cy="1150938"/>
          </a:xfrm>
        </p:spPr>
        <p:txBody>
          <a:bodyPr/>
          <a:lstStyle>
            <a:lvl1pPr marL="0" indent="0" rtl="0">
              <a:spcAft>
                <a:spcPts val="600"/>
              </a:spcAft>
              <a:buNone/>
              <a:defRPr sz="1200"/>
            </a:lvl1pPr>
            <a:lvl2pPr marL="288000" indent="0">
              <a:spcAft>
                <a:spcPts val="0"/>
              </a:spcAft>
              <a:buNone/>
              <a:defRPr/>
            </a:lvl2pPr>
            <a:lvl3pPr marL="677250" indent="0">
              <a:buNone/>
              <a:defRPr/>
            </a:lvl3pPr>
            <a:lvl4pPr marL="1020150" indent="0">
              <a:buNone/>
              <a:defRPr/>
            </a:lvl4pPr>
            <a:lvl5pPr marL="1363050" indent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50E0D00-2AE3-2FF5-55BF-FB13E27D5F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51389" y="1347786"/>
            <a:ext cx="4141788" cy="1908175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B850E70F-6E4E-7E15-8BFB-559807FF4B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1387" y="3305672"/>
            <a:ext cx="4141788" cy="204944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/>
            </a:lvl1pPr>
            <a:lvl2pPr marL="288000" indent="0">
              <a:spcAft>
                <a:spcPts val="0"/>
              </a:spcAft>
              <a:buNone/>
              <a:defRPr/>
            </a:lvl2pPr>
            <a:lvl3pPr marL="677250" indent="0">
              <a:buNone/>
              <a:defRPr/>
            </a:lvl3pPr>
            <a:lvl4pPr marL="1020150" indent="0">
              <a:buNone/>
              <a:defRPr/>
            </a:lvl4pPr>
            <a:lvl5pPr marL="1363050" indent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9A14E30F-F264-A2B2-B79D-123A4AB1C1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1387" y="3508376"/>
            <a:ext cx="4141788" cy="1150938"/>
          </a:xfrm>
        </p:spPr>
        <p:txBody>
          <a:bodyPr/>
          <a:lstStyle>
            <a:lvl1pPr marL="0" indent="0" rtl="0">
              <a:spcAft>
                <a:spcPts val="600"/>
              </a:spcAft>
              <a:buNone/>
              <a:defRPr sz="1200"/>
            </a:lvl1pPr>
            <a:lvl2pPr marL="288000" indent="0">
              <a:spcAft>
                <a:spcPts val="0"/>
              </a:spcAft>
              <a:buNone/>
              <a:defRPr/>
            </a:lvl2pPr>
            <a:lvl3pPr marL="677250" indent="0">
              <a:buNone/>
              <a:defRPr/>
            </a:lvl3pPr>
            <a:lvl4pPr marL="1020150" indent="0">
              <a:buNone/>
              <a:defRPr/>
            </a:lvl4pPr>
            <a:lvl5pPr marL="1363050" indent="0">
              <a:buNone/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A187AA-F662-DFBD-76C8-FDD7A7B70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5883D9A-13F0-49AD-8110-5EAFE3455F43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9A0926-08E6-55AB-7A21-9FC9306C1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AB9B73-7ED8-A33C-1B70-5B2BF7207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2328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  <p15:guide id="2" orient="horz" pos="2051" userDrawn="1">
          <p15:clr>
            <a:srgbClr val="FBAE40"/>
          </p15:clr>
        </p15:guide>
        <p15:guide id="3" orient="horz" pos="2210" userDrawn="1">
          <p15:clr>
            <a:srgbClr val="FBAE40"/>
          </p15:clr>
        </p15:guide>
        <p15:guide id="4" pos="29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+ Bi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28C8A7-F925-28A1-2E07-DBD584F746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71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28C8A7-F925-28A1-2E07-DBD584F74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C5F48C-3181-01DE-CDC6-DA79BA78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6"/>
            <a:ext cx="2557463" cy="4427538"/>
          </a:xfrm>
        </p:spPr>
        <p:txBody>
          <a:bodyPr vert="horz" anchor="b" anchorCtr="0"/>
          <a:lstStyle>
            <a:lvl1pPr algn="r" rtl="0">
              <a:defRPr sz="24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E7B6C50-D44E-7112-ACB8-5683547A09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24188" y="0"/>
            <a:ext cx="6119811" cy="5143500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26F3BF1-130B-F2A2-B589-F4B9A0CFF1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93063" y="231775"/>
            <a:ext cx="896400" cy="763638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05944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5" userDrawn="1">
          <p15:clr>
            <a:srgbClr val="FBAE40"/>
          </p15:clr>
        </p15:guide>
        <p15:guide id="2" pos="176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hoc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8CA8506-3170-5082-B457-296446291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0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CA8506-3170-5082-B457-296446291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3DD9BC3-9770-8389-5A0E-031FC6DD0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169BA4F-64D2-2570-F760-9DE20CAF0DBB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50824" y="1347788"/>
            <a:ext cx="2413001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B6E1ACA-2B45-6763-D74A-FF391C5A5B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4438185"/>
            <a:ext cx="2052638" cy="22112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BDEE26C-C2AF-D10E-7864-42A8C67241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3213" y="1347788"/>
            <a:ext cx="6049962" cy="30241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258AD2-A25A-D854-2389-15CB0EDA3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8E2882D-4830-4F6D-BF67-435693EE48BF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792665C-2952-116F-7D7D-BBF235D33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A4DE23-31A2-6415-9C7B-42D606BDA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76517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78" userDrawn="1">
          <p15:clr>
            <a:srgbClr val="FBAE40"/>
          </p15:clr>
        </p15:guide>
        <p15:guide id="2" pos="1791" userDrawn="1">
          <p15:clr>
            <a:srgbClr val="FBAE40"/>
          </p15:clr>
        </p15:guide>
        <p15:guide id="3" pos="2993" userDrawn="1">
          <p15:clr>
            <a:srgbClr val="FBAE40"/>
          </p15:clr>
        </p15:guide>
        <p15:guide id="4" orient="horz" pos="275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hoc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4DC9A68-FE3B-199E-8C0A-3A0245DDD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966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DC9A68-FE3B-199E-8C0A-3A0245DDD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3DD9BC3-9770-8389-5A0E-031FC6DD0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169BA4F-64D2-2570-F760-9DE20CAF0DBB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50825" y="1347788"/>
            <a:ext cx="2052000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B6E1ACA-2B45-6763-D74A-FF391C5A5B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4438185"/>
            <a:ext cx="2052638" cy="22112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B9B10E3-3119-AA84-9834-DA8C7FAB20A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2484438" y="1347788"/>
            <a:ext cx="2087562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0F85E91-890F-5F18-3E9B-31A5902C73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01900" y="4438185"/>
            <a:ext cx="2070100" cy="22112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BDEE26C-C2AF-D10E-7864-42A8C67241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51388" y="1347788"/>
            <a:ext cx="4141787" cy="30241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258AD2-A25A-D854-2389-15CB0EDA3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E6499B2-D03D-4917-8644-FCD9D7126DC3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792665C-2952-116F-7D7D-BBF235D33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A4DE23-31A2-6415-9C7B-42D606BDA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81336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51" userDrawn="1">
          <p15:clr>
            <a:srgbClr val="FBAE40"/>
          </p15:clr>
        </p15:guide>
        <p15:guide id="2" pos="1565" userDrawn="1">
          <p15:clr>
            <a:srgbClr val="FBAE40"/>
          </p15:clr>
        </p15:guide>
        <p15:guide id="3" pos="2993" userDrawn="1">
          <p15:clr>
            <a:srgbClr val="FBAE40"/>
          </p15:clr>
        </p15:guide>
        <p15:guide id="4" orient="horz" pos="275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26926E-72A2-6ACB-6245-2610AD714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39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26926E-72A2-6ACB-6245-2610AD714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EB640E-1F13-FD57-5D99-04A30D5C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489825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3481162-7A05-3F11-817B-F5B69FC96C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347788"/>
            <a:ext cx="7489824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D4468A0-A337-E21A-46B9-BAFA59C77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993A66-673C-4817-88C1-C27D89E7A908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AE5ACC-DFBF-57D9-1E31-2DA0DFC0D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5C1009-E04C-EB4C-643C-413AA9885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80060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7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BE7222B-E0BF-E028-DFB4-E3DC1DE263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267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E7222B-E0BF-E028-DFB4-E3DC1DE26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EB640E-1F13-FD57-5D99-04A30D5C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742238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3481162-7A05-3F11-817B-F5B69FC96C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347788"/>
            <a:ext cx="4141787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5B51A484-E4F8-6B27-DA69-E30F2D20F0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1389" y="1344640"/>
            <a:ext cx="4141787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D4468A0-A337-E21A-46B9-BAFA59C77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94046C0-64D9-4A0B-9F88-C9F9FD13A9CF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AE5ACC-DFBF-57D9-1E31-2DA0DFC0D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5C1009-E04C-EB4C-643C-413AA9885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7181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  <p15:guide id="2" pos="299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8145BE2-652E-5326-EB66-FB7C4361C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281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145BE2-652E-5326-EB66-FB7C4361C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EB640E-1F13-FD57-5D99-04A30D5C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742238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3481162-7A05-3F11-817B-F5B69FC96C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347788"/>
            <a:ext cx="2736849" cy="3311525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DF314E8-6EF1-07CF-73DC-5A12A6DBD6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3574" y="1347788"/>
            <a:ext cx="2736849" cy="3311525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49480B-9478-8AF3-10C5-CE9CEA2B7F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56325" y="1347788"/>
            <a:ext cx="2736849" cy="3311525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C62BEA4-152A-8664-5158-71BC65584337}"/>
              </a:ext>
            </a:extLst>
          </p:cNvPr>
          <p:cNvSpPr txBox="1"/>
          <p:nvPr userDrawn="1"/>
        </p:nvSpPr>
        <p:spPr>
          <a:xfrm>
            <a:off x="3471620" y="2557220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 rtl="0"/>
            <a:endParaRPr lang="de-AT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D4468A0-A337-E21A-46B9-BAFA59C77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AE3D49C-6D91-4F26-9DBE-36A1B4B2D72E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AE5ACC-DFBF-57D9-1E31-2DA0DFC0D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5C1009-E04C-EB4C-643C-413AA9885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3362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 userDrawn="1">
          <p15:clr>
            <a:srgbClr val="FBAE40"/>
          </p15:clr>
        </p15:guide>
        <p15:guide id="2" pos="2018" userDrawn="1">
          <p15:clr>
            <a:srgbClr val="FBAE40"/>
          </p15:clr>
        </p15:guide>
        <p15:guide id="3" pos="3742" userDrawn="1">
          <p15:clr>
            <a:srgbClr val="FBAE40"/>
          </p15:clr>
        </p15:guide>
        <p15:guide id="4" pos="387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nmerk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BF612F-602E-F907-4A27-28C26DBABD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7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BF612F-602E-F907-4A27-28C26DBAB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EB640E-1F13-FD57-5D99-04A30D5C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339474"/>
            <a:ext cx="2736850" cy="3311525"/>
          </a:xfrm>
        </p:spPr>
        <p:txBody>
          <a:bodyPr vert="horz"/>
          <a:lstStyle>
            <a:lvl1pPr algn="r" rtl="0">
              <a:defRPr>
                <a:solidFill>
                  <a:schemeClr val="accent6"/>
                </a:solidFill>
              </a:defRPr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DF314E8-6EF1-07CF-73DC-5A12A6DBD6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3574" y="1347788"/>
            <a:ext cx="2736849" cy="3311525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49480B-9478-8AF3-10C5-CE9CEA2B7F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56325" y="1347788"/>
            <a:ext cx="2736849" cy="3311525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D4468A0-A337-E21A-46B9-BAFA59C77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A54FE2F-B2FF-43E1-BB41-B57EDFA0F61D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AE5ACC-DFBF-57D9-1E31-2DA0DFC0D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5C1009-E04C-EB4C-643C-413AA9885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6876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 userDrawn="1">
          <p15:clr>
            <a:srgbClr val="FBAE40"/>
          </p15:clr>
        </p15:guide>
        <p15:guide id="2" pos="2018" userDrawn="1">
          <p15:clr>
            <a:srgbClr val="FBAE40"/>
          </p15:clr>
        </p15:guide>
        <p15:guide id="3" pos="3742" userDrawn="1">
          <p15:clr>
            <a:srgbClr val="FBAE40"/>
          </p15:clr>
        </p15:guide>
        <p15:guide id="4" pos="387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+ 6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310847-14F0-614A-DB0D-C552BB273C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141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310847-14F0-614A-DB0D-C552BB273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B05ABDD-59FD-B568-2D97-DA45BF22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C753887-97D5-E944-2ABF-1D87AD6453FA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250825" y="1356561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20B69FE-2FE4-737D-EBBE-45C5FACDBC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1550" y="1359960"/>
            <a:ext cx="3421063" cy="1008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CD3FEEB0-0963-2918-4B43-DAA24FFB3AB1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250825" y="2506828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D7754454-0369-843D-A7E0-CC9D901A5B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1550" y="2500313"/>
            <a:ext cx="3421063" cy="1013324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CC0A13E6-C99F-9E61-201B-8AF384220D5A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250825" y="3660030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7F5A6DFF-F5F5-168D-BFF3-0317D9AF73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884" y="3654711"/>
            <a:ext cx="3421063" cy="1004601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91938985-97B2-CBD9-F513-853ABAF4358B}"/>
              </a:ext>
            </a:extLst>
          </p:cNvPr>
          <p:cNvSpPr>
            <a:spLocks noGrp="1" noChangeAspect="1"/>
          </p:cNvSpPr>
          <p:nvPr>
            <p:ph type="body" sz="quarter" idx="28"/>
          </p:nvPr>
        </p:nvSpPr>
        <p:spPr>
          <a:xfrm>
            <a:off x="4751389" y="1356561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195F6BA-008D-D604-A95B-30AA91095C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72112" y="1356561"/>
            <a:ext cx="3421063" cy="10080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1323D76F-3681-EB2B-3606-BF6ED4CFC843}"/>
              </a:ext>
            </a:extLst>
          </p:cNvPr>
          <p:cNvSpPr>
            <a:spLocks noGrp="1" noChangeAspect="1"/>
          </p:cNvSpPr>
          <p:nvPr>
            <p:ph type="body" sz="quarter" idx="29"/>
          </p:nvPr>
        </p:nvSpPr>
        <p:spPr>
          <a:xfrm>
            <a:off x="4751388" y="2507953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E3614C23-7CB1-A150-8A8D-41A6298FDE7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72113" y="2506828"/>
            <a:ext cx="3421063" cy="1002218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D0A92546-7D7F-8348-480A-EA62B4C4A82C}"/>
              </a:ext>
            </a:extLst>
          </p:cNvPr>
          <p:cNvSpPr>
            <a:spLocks noGrp="1" noChangeAspect="1"/>
          </p:cNvSpPr>
          <p:nvPr>
            <p:ph type="body" sz="quarter" idx="30"/>
          </p:nvPr>
        </p:nvSpPr>
        <p:spPr>
          <a:xfrm>
            <a:off x="4751388" y="3660030"/>
            <a:ext cx="540000" cy="54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47F2CE22-3E2E-D0C4-240D-04D6A584060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72114" y="3651249"/>
            <a:ext cx="3421063" cy="1002281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46DE88-95E7-44F6-18E0-6C106FBB8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87EC121-FE1B-4667-9BF8-68A2A4C1F0F4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3661947-32BF-27B1-EF30-703040234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F7861-0E1D-77F7-1D12-8573BA1E3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9538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  <p15:guide id="2" pos="2993" userDrawn="1">
          <p15:clr>
            <a:srgbClr val="FBAE40"/>
          </p15:clr>
        </p15:guide>
        <p15:guide id="3" pos="612" userDrawn="1">
          <p15:clr>
            <a:srgbClr val="FBAE40"/>
          </p15:clr>
        </p15:guide>
        <p15:guide id="4" pos="3447" userDrawn="1">
          <p15:clr>
            <a:srgbClr val="FBAE40"/>
          </p15:clr>
        </p15:guide>
        <p15:guide id="5" orient="horz" pos="1575" userDrawn="1">
          <p15:clr>
            <a:srgbClr val="FBAE40"/>
          </p15:clr>
        </p15:guide>
        <p15:guide id="6" orient="horz" pos="230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+ Info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27423D-31F3-1A43-2CD5-FEE7E8538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3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7423D-31F3-1A43-2CD5-FEE7E8538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EB640E-1F13-FD57-5D99-04A30D5C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742238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C5A0F6A4-9195-B230-A042-4C6A66FFF7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347787"/>
            <a:ext cx="2736849" cy="540000"/>
          </a:xfrm>
          <a:custGeom>
            <a:avLst/>
            <a:gdLst>
              <a:gd name="connsiteX0" fmla="*/ 266583 w 2723522"/>
              <a:gd name="connsiteY0" fmla="*/ 0 h 540000"/>
              <a:gd name="connsiteX1" fmla="*/ 270000 w 2723522"/>
              <a:gd name="connsiteY1" fmla="*/ 0 h 540000"/>
              <a:gd name="connsiteX2" fmla="*/ 2723522 w 2723522"/>
              <a:gd name="connsiteY2" fmla="*/ 0 h 540000"/>
              <a:gd name="connsiteX3" fmla="*/ 2723522 w 2723522"/>
              <a:gd name="connsiteY3" fmla="*/ 539999 h 540000"/>
              <a:gd name="connsiteX4" fmla="*/ 270010 w 2723522"/>
              <a:gd name="connsiteY4" fmla="*/ 539999 h 540000"/>
              <a:gd name="connsiteX5" fmla="*/ 270000 w 2723522"/>
              <a:gd name="connsiteY5" fmla="*/ 540000 h 540000"/>
              <a:gd name="connsiteX6" fmla="*/ 269990 w 2723522"/>
              <a:gd name="connsiteY6" fmla="*/ 539999 h 540000"/>
              <a:gd name="connsiteX7" fmla="*/ 266583 w 2723522"/>
              <a:gd name="connsiteY7" fmla="*/ 539999 h 540000"/>
              <a:gd name="connsiteX8" fmla="*/ 266583 w 2723522"/>
              <a:gd name="connsiteY8" fmla="*/ 539656 h 540000"/>
              <a:gd name="connsiteX9" fmla="*/ 215586 w 2723522"/>
              <a:gd name="connsiteY9" fmla="*/ 534515 h 540000"/>
              <a:gd name="connsiteX10" fmla="*/ 0 w 2723522"/>
              <a:gd name="connsiteY10" fmla="*/ 270000 h 540000"/>
              <a:gd name="connsiteX11" fmla="*/ 215586 w 2723522"/>
              <a:gd name="connsiteY11" fmla="*/ 5486 h 540000"/>
              <a:gd name="connsiteX12" fmla="*/ 266583 w 2723522"/>
              <a:gd name="connsiteY12" fmla="*/ 345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23522" h="540000">
                <a:moveTo>
                  <a:pt x="266583" y="0"/>
                </a:moveTo>
                <a:lnTo>
                  <a:pt x="270000" y="0"/>
                </a:lnTo>
                <a:lnTo>
                  <a:pt x="2723522" y="0"/>
                </a:lnTo>
                <a:lnTo>
                  <a:pt x="2723522" y="539999"/>
                </a:lnTo>
                <a:lnTo>
                  <a:pt x="270010" y="539999"/>
                </a:lnTo>
                <a:lnTo>
                  <a:pt x="270000" y="540000"/>
                </a:lnTo>
                <a:lnTo>
                  <a:pt x="269990" y="539999"/>
                </a:lnTo>
                <a:lnTo>
                  <a:pt x="266583" y="539999"/>
                </a:lnTo>
                <a:lnTo>
                  <a:pt x="266583" y="539656"/>
                </a:lnTo>
                <a:lnTo>
                  <a:pt x="215586" y="534515"/>
                </a:lnTo>
                <a:cubicBezTo>
                  <a:pt x="92551" y="509338"/>
                  <a:pt x="0" y="400477"/>
                  <a:pt x="0" y="270000"/>
                </a:cubicBezTo>
                <a:cubicBezTo>
                  <a:pt x="0" y="139523"/>
                  <a:pt x="92551" y="30662"/>
                  <a:pt x="215586" y="5486"/>
                </a:cubicBezTo>
                <a:lnTo>
                  <a:pt x="266583" y="345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wrap="square" lIns="360000" tIns="36000" rIns="288000" bIns="36000" anchor="ctr" anchorCtr="0">
            <a:noAutofit/>
          </a:bodyPr>
          <a:lstStyle>
            <a:lvl1pPr marL="0" indent="0" algn="r" rtl="0"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Bildplatzhalter 14" descr="Icon&#10;">
            <a:extLst>
              <a:ext uri="{FF2B5EF4-FFF2-40B4-BE49-F238E27FC236}">
                <a16:creationId xmlns:a16="http://schemas.microsoft.com/office/drawing/2014/main" id="{E9FB3305-A243-CECE-E5EE-91F7D726D08B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14179" y="1401662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32" name="Bildplatzhalter 14" descr="Icon&#10;">
            <a:extLst>
              <a:ext uri="{FF2B5EF4-FFF2-40B4-BE49-F238E27FC236}">
                <a16:creationId xmlns:a16="http://schemas.microsoft.com/office/drawing/2014/main" id="{1E400416-42A0-6733-6E2F-3508432A395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14176" y="2006692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3D7A1E59-D4B5-F262-95BD-CA0E93CC48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84739" y="2004046"/>
            <a:ext cx="2002934" cy="710434"/>
          </a:xfrm>
          <a:prstGeom prst="wedgeRectCallout">
            <a:avLst>
              <a:gd name="adj1" fmla="val -56603"/>
              <a:gd name="adj2" fmla="val -21183"/>
            </a:avLst>
          </a:prstGeom>
          <a:ln w="9525">
            <a:solidFill>
              <a:schemeClr val="accent2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1" name="Bildplatzhalter 14" descr="Icon&#10;">
            <a:extLst>
              <a:ext uri="{FF2B5EF4-FFF2-40B4-BE49-F238E27FC236}">
                <a16:creationId xmlns:a16="http://schemas.microsoft.com/office/drawing/2014/main" id="{012DC52A-B343-59FF-D9CF-AEA930F04CE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14176" y="2835491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826EF335-EEEC-A75C-87F9-40B963F6AC7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84741" y="2833746"/>
            <a:ext cx="2002934" cy="710434"/>
          </a:xfrm>
          <a:prstGeom prst="wedgeRectCallout">
            <a:avLst>
              <a:gd name="adj1" fmla="val -56603"/>
              <a:gd name="adj2" fmla="val -21183"/>
            </a:avLst>
          </a:prstGeom>
          <a:ln w="9525">
            <a:solidFill>
              <a:schemeClr val="accent2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0" name="Bildplatzhalter 14" descr="Icon&#10;">
            <a:extLst>
              <a:ext uri="{FF2B5EF4-FFF2-40B4-BE49-F238E27FC236}">
                <a16:creationId xmlns:a16="http://schemas.microsoft.com/office/drawing/2014/main" id="{B72E4ADE-D503-08BF-6D42-1B669C16FDB7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12887" y="3664290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49DC91D-ECC0-5818-5601-18BDA69C51B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4741" y="3651250"/>
            <a:ext cx="2002934" cy="710434"/>
          </a:xfrm>
          <a:prstGeom prst="wedgeRectCallout">
            <a:avLst>
              <a:gd name="adj1" fmla="val -56603"/>
              <a:gd name="adj2" fmla="val -21183"/>
            </a:avLst>
          </a:prstGeom>
          <a:ln w="9525">
            <a:solidFill>
              <a:schemeClr val="accent2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BDC4A620-EBFE-6E93-BC6D-3376A564EB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03575" y="1347787"/>
            <a:ext cx="2736850" cy="539999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lIns="180000" tIns="36000" rIns="180000" bIns="36000" anchor="ctr" anchorCtr="0"/>
          <a:lstStyle>
            <a:lvl1pPr marL="0" indent="0" algn="ctr" rtl="0">
              <a:buNone/>
              <a:defRPr sz="1200">
                <a:latin typeface="+mj-lt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DF314E8-6EF1-07CF-73DC-5A12A6DBD6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3574" y="1887787"/>
            <a:ext cx="2736849" cy="2771526"/>
          </a:xfrm>
          <a:ln w="9525">
            <a:solidFill>
              <a:schemeClr val="accent1"/>
            </a:solidFill>
          </a:ln>
        </p:spPr>
        <p:txBody>
          <a:bodyPr lIns="108000" tIns="108000" rIns="108000" bIns="108000"/>
          <a:lstStyle>
            <a:lvl1pPr rtl="0">
              <a:defRPr sz="1200"/>
            </a:lvl1pPr>
            <a:lvl2pPr rtl="0">
              <a:defRPr sz="1200"/>
            </a:lvl2pPr>
            <a:lvl3pPr rtl="0">
              <a:defRPr sz="1200"/>
            </a:lvl3pPr>
            <a:lvl4pPr rtl="0">
              <a:defRPr sz="1200"/>
            </a:lvl4pPr>
            <a:lvl5pPr rtl="0">
              <a:defRPr sz="1200"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396B4F56-4662-03E6-D152-5CD19F74A5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56325" y="1347788"/>
            <a:ext cx="2736849" cy="541337"/>
          </a:xfrm>
          <a:custGeom>
            <a:avLst/>
            <a:gdLst>
              <a:gd name="connsiteX0" fmla="*/ 0 w 2736849"/>
              <a:gd name="connsiteY0" fmla="*/ 0 h 541337"/>
              <a:gd name="connsiteX1" fmla="*/ 2463800 w 2736849"/>
              <a:gd name="connsiteY1" fmla="*/ 0 h 541337"/>
              <a:gd name="connsiteX2" fmla="*/ 2463800 w 2736849"/>
              <a:gd name="connsiteY2" fmla="*/ 1894 h 541337"/>
              <a:gd name="connsiteX3" fmla="*/ 2466849 w 2736849"/>
              <a:gd name="connsiteY3" fmla="*/ 1587 h 541337"/>
              <a:gd name="connsiteX4" fmla="*/ 2736849 w 2736849"/>
              <a:gd name="connsiteY4" fmla="*/ 271462 h 541337"/>
              <a:gd name="connsiteX5" fmla="*/ 2466849 w 2736849"/>
              <a:gd name="connsiteY5" fmla="*/ 541337 h 541337"/>
              <a:gd name="connsiteX6" fmla="*/ 2451099 w 2736849"/>
              <a:gd name="connsiteY6" fmla="*/ 539750 h 541337"/>
              <a:gd name="connsiteX7" fmla="*/ 0 w 2736849"/>
              <a:gd name="connsiteY7" fmla="*/ 539750 h 541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36849" h="541337">
                <a:moveTo>
                  <a:pt x="0" y="0"/>
                </a:moveTo>
                <a:lnTo>
                  <a:pt x="2463800" y="0"/>
                </a:lnTo>
                <a:lnTo>
                  <a:pt x="2463800" y="1894"/>
                </a:lnTo>
                <a:lnTo>
                  <a:pt x="2466849" y="1587"/>
                </a:lnTo>
                <a:cubicBezTo>
                  <a:pt x="2615966" y="1587"/>
                  <a:pt x="2736849" y="122414"/>
                  <a:pt x="2736849" y="271462"/>
                </a:cubicBezTo>
                <a:cubicBezTo>
                  <a:pt x="2736849" y="420510"/>
                  <a:pt x="2615966" y="541337"/>
                  <a:pt x="2466849" y="541337"/>
                </a:cubicBezTo>
                <a:lnTo>
                  <a:pt x="2451099" y="539750"/>
                </a:lnTo>
                <a:lnTo>
                  <a:pt x="0" y="539750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txBody>
          <a:bodyPr wrap="square" lIns="288000" tIns="36000" rIns="360000" bIns="36000" anchor="ctr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200">
                <a:latin typeface="+mj-lt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29" name="Bildplatzhalter 14" descr="Icon&#10;">
            <a:extLst>
              <a:ext uri="{FF2B5EF4-FFF2-40B4-BE49-F238E27FC236}">
                <a16:creationId xmlns:a16="http://schemas.microsoft.com/office/drawing/2014/main" id="{0AE23225-CD57-C811-2FBF-F0BE5C303C73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297821" y="1401662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18032D87-5E9E-5512-2CEC-862361CB7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56322" y="1995489"/>
            <a:ext cx="2002939" cy="718992"/>
          </a:xfrm>
          <a:prstGeom prst="wedgeRectCallout">
            <a:avLst>
              <a:gd name="adj1" fmla="val 56226"/>
              <a:gd name="adj2" fmla="val -20586"/>
            </a:avLst>
          </a:prstGeom>
          <a:ln w="9525">
            <a:solidFill>
              <a:schemeClr val="accent4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3" name="Bildplatzhalter 14" descr="Icon&#10;">
            <a:extLst>
              <a:ext uri="{FF2B5EF4-FFF2-40B4-BE49-F238E27FC236}">
                <a16:creationId xmlns:a16="http://schemas.microsoft.com/office/drawing/2014/main" id="{92F70770-2E81-055B-0FCD-60D767E042D9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297821" y="2002404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056AE5BF-CBA3-29B7-587A-A1EF3B3D9C3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156320" y="2827936"/>
            <a:ext cx="2002939" cy="718992"/>
          </a:xfrm>
          <a:prstGeom prst="wedgeRectCallout">
            <a:avLst>
              <a:gd name="adj1" fmla="val 56226"/>
              <a:gd name="adj2" fmla="val -20586"/>
            </a:avLst>
          </a:prstGeom>
          <a:ln w="9525">
            <a:solidFill>
              <a:schemeClr val="accent4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5" name="Bildplatzhalter 14" descr="Icon&#10;">
            <a:extLst>
              <a:ext uri="{FF2B5EF4-FFF2-40B4-BE49-F238E27FC236}">
                <a16:creationId xmlns:a16="http://schemas.microsoft.com/office/drawing/2014/main" id="{4F65D366-E8DA-7898-76F6-7F2728F4B3A5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8280663" y="2833347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D681FDC9-0F1D-457A-BDEF-9A82E85F83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319" y="3658703"/>
            <a:ext cx="2002939" cy="718992"/>
          </a:xfrm>
          <a:prstGeom prst="wedgeRectCallout">
            <a:avLst>
              <a:gd name="adj1" fmla="val 56226"/>
              <a:gd name="adj2" fmla="val -20586"/>
            </a:avLst>
          </a:prstGeom>
          <a:ln w="9525">
            <a:solidFill>
              <a:schemeClr val="accent4"/>
            </a:solidFill>
          </a:ln>
        </p:spPr>
        <p:txBody>
          <a:bodyPr lIns="72000" tIns="36000" rIns="72000" bIns="36000"/>
          <a:lstStyle>
            <a:lvl1pPr rtl="0"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4" name="Bildplatzhalter 14" descr="Icon&#10;">
            <a:extLst>
              <a:ext uri="{FF2B5EF4-FFF2-40B4-BE49-F238E27FC236}">
                <a16:creationId xmlns:a16="http://schemas.microsoft.com/office/drawing/2014/main" id="{8D4C7867-53B8-3589-F514-3E305B3292EE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8297821" y="3664290"/>
            <a:ext cx="432000" cy="432000"/>
          </a:xfrm>
          <a:noFill/>
        </p:spPr>
        <p:txBody>
          <a:bodyPr/>
          <a:lstStyle>
            <a:lvl1pPr marL="0" indent="0" rtl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Ic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D4468A0-A337-E21A-46B9-BAFA59C77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2AD0C6A-5C2E-4D94-A457-B52D3DF860A7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AE5ACC-DFBF-57D9-1E31-2DA0DFC0D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5C1009-E04C-EB4C-643C-413AA9885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8784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 userDrawn="1">
          <p15:clr>
            <a:srgbClr val="FBAE40"/>
          </p15:clr>
        </p15:guide>
        <p15:guide id="2" pos="2018" userDrawn="1">
          <p15:clr>
            <a:srgbClr val="FBAE40"/>
          </p15:clr>
        </p15:guide>
        <p15:guide id="3" pos="3742" userDrawn="1">
          <p15:clr>
            <a:srgbClr val="FBAE40"/>
          </p15:clr>
        </p15:guide>
        <p15:guide id="4" pos="3878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300" userDrawn="1">
          <p15:clr>
            <a:srgbClr val="FBAE40"/>
          </p15:clr>
        </p15:guide>
        <p15:guide id="7" orient="horz" pos="125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 Instit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A2696B-E0EF-E2CA-0FBF-787B358C3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89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A2696B-E0EF-E2CA-0FBF-787B358C3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5D1E07D-BE97-F33E-51D3-C87618DB885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C4B1025-C982-46FF-4D99-6E4C2D011D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131889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l,,</a:t>
            </a:r>
            <a:r>
              <a:rPr lang="de-AT" dirty="0" err="1"/>
              <a:t>öääö</a:t>
            </a:r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2571750"/>
            <a:ext cx="9143999" cy="2571750"/>
          </a:xfrm>
          <a:gradFill flip="none" rotWithShape="1">
            <a:gsLst>
              <a:gs pos="50000">
                <a:schemeClr val="bg1">
                  <a:alpha val="60411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</p:spPr>
        <p:txBody>
          <a:bodyPr vert="horz" lIns="1116000" tIns="324000" bIns="324000" anchor="t" anchorCtr="0">
            <a:noAutofit/>
          </a:bodyPr>
          <a:lstStyle>
            <a:lvl1pPr algn="l" rtl="0"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Bildplatzhalter 5">
            <a:extLst>
              <a:ext uri="{FF2B5EF4-FFF2-40B4-BE49-F238E27FC236}">
                <a16:creationId xmlns:a16="http://schemas.microsoft.com/office/drawing/2014/main" id="{1D9495E8-25E7-52FD-CB55-C2956A30D4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40314" y="-1"/>
            <a:ext cx="4103686" cy="1347789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Logo Institut</a:t>
            </a:r>
          </a:p>
        </p:txBody>
      </p:sp>
    </p:spTree>
    <p:extLst>
      <p:ext uri="{BB962C8B-B14F-4D97-AF65-F5344CB8AC3E}">
        <p14:creationId xmlns:p14="http://schemas.microsoft.com/office/powerpoint/2010/main" val="3542450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703" userDrawn="1">
          <p15:clr>
            <a:srgbClr val="FBAE40"/>
          </p15:clr>
        </p15:guide>
        <p15:guide id="6" pos="317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C120E7C-1D86-D98C-8AE3-7EF2268B9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850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120E7C-1D86-D98C-8AE3-7EF2268B9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753B92E-921C-BE52-C300-97C6A23D3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0C3CF41-DF20-FC74-52F7-F3AA4D526F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0825" y="1347788"/>
            <a:ext cx="4141788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06F30A-541D-9E68-6CC5-8D1DD807CD4A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571999" y="1347788"/>
            <a:ext cx="2124000" cy="162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D98416A-4A13-360E-0CC6-5A0E0D60126E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6769175" y="1347788"/>
            <a:ext cx="2124000" cy="162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F28C9B62-801F-3E5B-B395-9303A1B1CB2B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571999" y="3039313"/>
            <a:ext cx="2124000" cy="162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039D246-A148-DC01-3049-653F9974667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769175" y="3039313"/>
            <a:ext cx="2124000" cy="162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7C5A928-DD03-1DEA-3FB9-DB7346415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AC1DB08-DE4E-4376-9CF2-5C35FC43812B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8F726-1297-ACB7-F71E-1F16C92B2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5F1365-64C7-8C38-7436-75D757AEB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45080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F9D219-8C18-3CF9-9C41-C5887B7BF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61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F9D219-8C18-3CF9-9C41-C5887B7BF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321AA07-7FE6-1470-7841-754B97C1D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85785552-1F25-66A4-F4AB-C0299DF2EA0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50825" y="1347788"/>
            <a:ext cx="6013450" cy="3093529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5EFC59B-55D7-AB50-7AB8-44D1BCEC8F6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4275" y="1347788"/>
            <a:ext cx="2628900" cy="3093529"/>
          </a:xfrm>
        </p:spPr>
        <p:txBody>
          <a:bodyPr/>
          <a:lstStyle>
            <a:lvl1pPr rtl="0">
              <a:defRPr sz="1200"/>
            </a:lvl1pPr>
            <a:lvl2pPr rtl="0">
              <a:defRPr sz="12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2C920D-393D-72F6-0E33-76F73B9303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4443413"/>
            <a:ext cx="8642350" cy="215900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 sz="800" b="1"/>
            </a:lvl1pPr>
          </a:lstStyle>
          <a:p>
            <a:pPr lvl="0"/>
            <a:r>
              <a:rPr lang="de-AT" dirty="0"/>
              <a:t>Quellenangabe und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CCD214-E961-4DC8-3616-5482526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7A875E7-8F38-43A6-BC62-510970464E7B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69A298-D61B-7BC6-D32D-A7195517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AA52A8-45CA-2235-4DE3-79E5D2EB2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63936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99" userDrawn="1">
          <p15:clr>
            <a:srgbClr val="FBAE40"/>
          </p15:clr>
        </p15:guide>
        <p15:guide id="2" pos="394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43D0160-4D87-71B3-08A3-1AA541093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779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D0160-4D87-71B3-08A3-1AA541093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337FDBD-ECE0-90C8-A46F-50C5BB708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rot="5400000">
            <a:off x="-1023067" y="1023068"/>
            <a:ext cx="4649999" cy="2603865"/>
          </a:xfrm>
          <a:custGeom>
            <a:avLst/>
            <a:gdLst>
              <a:gd name="connsiteX0" fmla="*/ 0 w 4649999"/>
              <a:gd name="connsiteY0" fmla="*/ 1532685 h 2603865"/>
              <a:gd name="connsiteX1" fmla="*/ 0 w 4649999"/>
              <a:gd name="connsiteY1" fmla="*/ 0 h 2603865"/>
              <a:gd name="connsiteX2" fmla="*/ 195396 w 4649999"/>
              <a:gd name="connsiteY2" fmla="*/ 14841 h 2603865"/>
              <a:gd name="connsiteX3" fmla="*/ 4548831 w 4649999"/>
              <a:gd name="connsiteY3" fmla="*/ 2463996 h 2603865"/>
              <a:gd name="connsiteX4" fmla="*/ 4649999 w 4649999"/>
              <a:gd name="connsiteY4" fmla="*/ 2603865 h 2603865"/>
              <a:gd name="connsiteX5" fmla="*/ 2561285 w 4649999"/>
              <a:gd name="connsiteY5" fmla="*/ 2603865 h 2603865"/>
              <a:gd name="connsiteX6" fmla="*/ 2418248 w 4649999"/>
              <a:gd name="connsiteY6" fmla="*/ 2483655 h 2603865"/>
              <a:gd name="connsiteX7" fmla="*/ 28453 w 4649999"/>
              <a:gd name="connsiteY7" fmla="*/ 1534848 h 260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9999" h="2603865">
                <a:moveTo>
                  <a:pt x="0" y="1532685"/>
                </a:moveTo>
                <a:lnTo>
                  <a:pt x="0" y="0"/>
                </a:lnTo>
                <a:lnTo>
                  <a:pt x="195396" y="14841"/>
                </a:lnTo>
                <a:cubicBezTo>
                  <a:pt x="1970903" y="194943"/>
                  <a:pt x="3527048" y="1116205"/>
                  <a:pt x="4548831" y="2463996"/>
                </a:cubicBezTo>
                <a:lnTo>
                  <a:pt x="4649999" y="2603865"/>
                </a:lnTo>
                <a:lnTo>
                  <a:pt x="2561285" y="2603865"/>
                </a:lnTo>
                <a:lnTo>
                  <a:pt x="2418248" y="2483655"/>
                </a:lnTo>
                <a:cubicBezTo>
                  <a:pt x="1742239" y="1965367"/>
                  <a:pt x="922151" y="1625608"/>
                  <a:pt x="28453" y="1534848"/>
                </a:cubicBezTo>
                <a:close/>
              </a:path>
            </a:pathLst>
          </a:custGeom>
          <a:solidFill>
            <a:schemeClr val="tx2">
              <a:alpha val="40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77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1AE3F5-F909-A5DE-48AD-0F15EB87A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4321175" cy="11160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A45994FE-B27D-C9E8-3011-4A3FE39059B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50826" y="1347788"/>
            <a:ext cx="4321174" cy="3095625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AD0C19FB-A003-34A4-5DE5-524C82B7B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0" y="1347788"/>
            <a:ext cx="4321175" cy="30956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C790FA5-7FC5-220F-A95E-EE67FCF94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0825" y="4443413"/>
            <a:ext cx="4321175" cy="2159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 b="1"/>
            </a:lvl1pPr>
          </a:lstStyle>
          <a:p>
            <a:pPr lvl="0"/>
            <a:r>
              <a:rPr lang="de-AT" dirty="0"/>
              <a:t>Quellenangabe und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D3D6F20-B80D-9A42-CA38-A6CA746517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C2F3AE0-1A18-4FAF-BB8B-5D0D3C5DBF46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D043BD-90CA-8F5B-C0B8-368B9D689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85BAAA-463A-EEC7-49F0-4827962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513034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9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+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FB44346-E031-330F-7ED4-8662A676A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393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B44346-E031-330F-7ED4-8662A676A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66481F9-CCD2-2212-7135-8D393F2D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88FE0A0F-FB3E-A09E-D9E0-CA940019FEFE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50825" y="1347788"/>
            <a:ext cx="4321175" cy="3095625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02E68E47-36C0-462F-7D24-8DD8C2754C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rot="10800000" flipV="1">
            <a:off x="4494001" y="2539635"/>
            <a:ext cx="4649999" cy="2603865"/>
          </a:xfrm>
          <a:custGeom>
            <a:avLst/>
            <a:gdLst>
              <a:gd name="connsiteX0" fmla="*/ 0 w 4649999"/>
              <a:gd name="connsiteY0" fmla="*/ 1532685 h 2603865"/>
              <a:gd name="connsiteX1" fmla="*/ 0 w 4649999"/>
              <a:gd name="connsiteY1" fmla="*/ 0 h 2603865"/>
              <a:gd name="connsiteX2" fmla="*/ 195396 w 4649999"/>
              <a:gd name="connsiteY2" fmla="*/ 14841 h 2603865"/>
              <a:gd name="connsiteX3" fmla="*/ 4548831 w 4649999"/>
              <a:gd name="connsiteY3" fmla="*/ 2463996 h 2603865"/>
              <a:gd name="connsiteX4" fmla="*/ 4649999 w 4649999"/>
              <a:gd name="connsiteY4" fmla="*/ 2603865 h 2603865"/>
              <a:gd name="connsiteX5" fmla="*/ 2561285 w 4649999"/>
              <a:gd name="connsiteY5" fmla="*/ 2603865 h 2603865"/>
              <a:gd name="connsiteX6" fmla="*/ 2418248 w 4649999"/>
              <a:gd name="connsiteY6" fmla="*/ 2483655 h 2603865"/>
              <a:gd name="connsiteX7" fmla="*/ 28453 w 4649999"/>
              <a:gd name="connsiteY7" fmla="*/ 1534848 h 260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9999" h="2603865">
                <a:moveTo>
                  <a:pt x="0" y="1532685"/>
                </a:moveTo>
                <a:lnTo>
                  <a:pt x="0" y="0"/>
                </a:lnTo>
                <a:lnTo>
                  <a:pt x="195396" y="14841"/>
                </a:lnTo>
                <a:cubicBezTo>
                  <a:pt x="1970903" y="194943"/>
                  <a:pt x="3527048" y="1116205"/>
                  <a:pt x="4548831" y="2463996"/>
                </a:cubicBezTo>
                <a:lnTo>
                  <a:pt x="4649999" y="2603865"/>
                </a:lnTo>
                <a:lnTo>
                  <a:pt x="2561285" y="2603865"/>
                </a:lnTo>
                <a:lnTo>
                  <a:pt x="2418248" y="2483655"/>
                </a:lnTo>
                <a:cubicBezTo>
                  <a:pt x="1742239" y="1965367"/>
                  <a:pt x="922151" y="1625608"/>
                  <a:pt x="28453" y="1534848"/>
                </a:cubicBezTo>
                <a:close/>
              </a:path>
            </a:pathLst>
          </a:custGeom>
          <a:solidFill>
            <a:schemeClr val="tx2">
              <a:alpha val="40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77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AD65BFF-F797-A0E2-B191-C16841CC42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0" y="1347788"/>
            <a:ext cx="4321175" cy="30956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38B7C7D-5CA1-6B8B-DFC7-85DE1B6717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825" y="4443413"/>
            <a:ext cx="4321175" cy="2159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 b="1"/>
            </a:lvl1pPr>
          </a:lstStyle>
          <a:p>
            <a:pPr lvl="0"/>
            <a:r>
              <a:rPr lang="de-AT" dirty="0"/>
              <a:t>Quellenangabe und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491DF1-4B71-8707-2677-CABBE9938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C6FA40-2397-4F58-BA26-8B63825A6788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40CCB8-4BB3-2B6C-B985-C2ED1EC84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FA312D-6BC3-1C78-EADB-7B0A19498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02049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9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C9D27D8-9646-25C6-E9B1-6AB500443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43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9D27D8-9646-25C6-E9B1-6AB500443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88C864-FF38-CA6A-666F-97C6DACEC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2347ED25-165A-83C3-80DE-FF47ACF6E729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50825" y="1347788"/>
            <a:ext cx="8642350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Tabelle durch Klicken auf Symbol hinzufü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5E14799-2CBE-703F-9351-77BC25E35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4443413"/>
            <a:ext cx="8642350" cy="2159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 b="1"/>
            </a:lvl1pPr>
            <a:lvl2pPr marL="288000" indent="0">
              <a:buNone/>
              <a:defRPr/>
            </a:lvl2pPr>
          </a:lstStyle>
          <a:p>
            <a:pPr lvl="0"/>
            <a:r>
              <a:rPr lang="de-AT" dirty="0"/>
              <a:t>Quellenangabe und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FB8FEE4-D90A-A11D-CBF1-0EA3DB2A6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134C26D-C6ED-4BE5-86BC-AE34624AA4CF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15A3260-DDA2-6DA9-48BE-B9111D23E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325CEC-D011-F284-D81C-2FD6E210D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19342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99" userDrawn="1">
          <p15:clr>
            <a:srgbClr val="FBAE40"/>
          </p15:clr>
        </p15:guide>
        <p15:guide id="2" orient="horz" pos="2754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8B0B2C8-BF96-FE88-4F51-4B613BB6B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701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B0B2C8-BF96-FE88-4F51-4B613BB6B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86D901A-AF7F-9C1A-9F50-9A9DC6EC2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8907A39B-DD59-BECD-E012-D2BE502031C3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50825" y="1347788"/>
            <a:ext cx="4213225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Tabelle durch Klicken auf Symbol hinzu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9F87F4-C4E5-0AE4-B4B4-C15921C331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443413"/>
            <a:ext cx="4213225" cy="2159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 b="1"/>
            </a:lvl1pPr>
          </a:lstStyle>
          <a:p>
            <a:pPr lvl="0"/>
            <a:r>
              <a:rPr lang="de-AT" dirty="0"/>
              <a:t>Quellenangabe und Zusatzinformationen</a:t>
            </a:r>
          </a:p>
        </p:txBody>
      </p:sp>
      <p:sp>
        <p:nvSpPr>
          <p:cNvPr id="8" name="Tabellenplatzhalter 6">
            <a:extLst>
              <a:ext uri="{FF2B5EF4-FFF2-40B4-BE49-F238E27FC236}">
                <a16:creationId xmlns:a16="http://schemas.microsoft.com/office/drawing/2014/main" id="{4FDB1B57-72DC-7302-9400-156410E830F0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679951" y="1347788"/>
            <a:ext cx="4213226" cy="3024187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Tabelle durch Klicken auf 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9F4F6E5-568E-B028-0F7A-B154452A21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9950" y="4443413"/>
            <a:ext cx="4213225" cy="215900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800" b="1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None/>
              <a:tabLst/>
              <a:defRPr/>
            </a:pPr>
            <a:r>
              <a:rPr lang="de-AT" dirty="0"/>
              <a:t>Quellenangabe und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41C9378-EA79-67BB-00F4-AF815BAFB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B0997FF-529D-49BA-B524-111137621061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0F6AED-375D-217E-C27B-D6F20AECA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4C2DE2-6500-9328-FA59-28CE2EAE9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36771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12" userDrawn="1">
          <p15:clr>
            <a:srgbClr val="FBAE40"/>
          </p15:clr>
        </p15:guide>
        <p15:guide id="2" pos="2948" userDrawn="1">
          <p15:clr>
            <a:srgbClr val="FBAE40"/>
          </p15:clr>
        </p15:guide>
        <p15:guide id="3" orient="horz" pos="2799" userDrawn="1">
          <p15:clr>
            <a:srgbClr val="FBAE40"/>
          </p15:clr>
        </p15:guide>
        <p15:guide id="4" orient="horz" pos="2754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en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4697A02-1D09-2E84-2E67-F5855D11E3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59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697A02-1D09-2E84-2E67-F5855D11E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618" y="1350962"/>
            <a:ext cx="2463556" cy="3442739"/>
          </a:xfrm>
        </p:spPr>
        <p:txBody>
          <a:bodyPr vert="horz" anchor="b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6" y="1347788"/>
            <a:ext cx="5905500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1A0C02D-C297-4118-9134-79C524D416FE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66376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Kreisda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BD5890-83A6-FC63-1F8D-A078BCA1C4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400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D5890-83A6-FC63-1F8D-A078BCA1C4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4D7450-933F-57A1-4D35-1B862985C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88D5C0-C801-F67E-2114-1D591A6A6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14AA64F-9CF7-40BD-A546-1278940A7717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3F95DA-4A36-10D2-1795-8E03F414F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95B262-E3E0-DDC7-5925-3D691F244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8" name="Freeform 210" descr="Halbkreis mit Pfeil nach links">
            <a:extLst>
              <a:ext uri="{FF2B5EF4-FFF2-40B4-BE49-F238E27FC236}">
                <a16:creationId xmlns:a16="http://schemas.microsoft.com/office/drawing/2014/main" id="{34561A3D-0B72-AD4D-7A95-C86C11E121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030300" y="1951523"/>
            <a:ext cx="3132485" cy="1944000"/>
          </a:xfrm>
          <a:custGeom>
            <a:avLst/>
            <a:gdLst>
              <a:gd name="T0" fmla="*/ 11737 w 11748"/>
              <a:gd name="T1" fmla="*/ 7096 h 7721"/>
              <a:gd name="T2" fmla="*/ 11737 w 11748"/>
              <a:gd name="T3" fmla="*/ 7096 h 7721"/>
              <a:gd name="T4" fmla="*/ 11039 w 11748"/>
              <a:gd name="T5" fmla="*/ 6398 h 7721"/>
              <a:gd name="T6" fmla="*/ 11039 w 11748"/>
              <a:gd name="T7" fmla="*/ 6398 h 7721"/>
              <a:gd name="T8" fmla="*/ 11089 w 11748"/>
              <a:gd name="T9" fmla="*/ 6140 h 7721"/>
              <a:gd name="T10" fmla="*/ 11089 w 11748"/>
              <a:gd name="T11" fmla="*/ 6140 h 7721"/>
              <a:gd name="T12" fmla="*/ 9643 w 11748"/>
              <a:gd name="T13" fmla="*/ 6560 h 7721"/>
              <a:gd name="T14" fmla="*/ 9643 w 11748"/>
              <a:gd name="T15" fmla="*/ 6560 h 7721"/>
              <a:gd name="T16" fmla="*/ 6935 w 11748"/>
              <a:gd name="T17" fmla="*/ 3853 h 7721"/>
              <a:gd name="T18" fmla="*/ 6935 w 11748"/>
              <a:gd name="T19" fmla="*/ 3853 h 7721"/>
              <a:gd name="T20" fmla="*/ 9254 w 11748"/>
              <a:gd name="T21" fmla="*/ 1172 h 7721"/>
              <a:gd name="T22" fmla="*/ 9254 w 11748"/>
              <a:gd name="T23" fmla="*/ 1172 h 7721"/>
              <a:gd name="T24" fmla="*/ 8958 w 11748"/>
              <a:gd name="T25" fmla="*/ 602 h 7721"/>
              <a:gd name="T26" fmla="*/ 8958 w 11748"/>
              <a:gd name="T27" fmla="*/ 602 h 7721"/>
              <a:gd name="T28" fmla="*/ 9302 w 11748"/>
              <a:gd name="T29" fmla="*/ 0 h 7721"/>
              <a:gd name="T30" fmla="*/ 9302 w 11748"/>
              <a:gd name="T31" fmla="*/ 0 h 7721"/>
              <a:gd name="T32" fmla="*/ 5775 w 11748"/>
              <a:gd name="T33" fmla="*/ 3853 h 7721"/>
              <a:gd name="T34" fmla="*/ 5775 w 11748"/>
              <a:gd name="T35" fmla="*/ 3853 h 7721"/>
              <a:gd name="T36" fmla="*/ 6451 w 11748"/>
              <a:gd name="T37" fmla="*/ 6037 h 7721"/>
              <a:gd name="T38" fmla="*/ 1183 w 11748"/>
              <a:gd name="T39" fmla="*/ 6037 h 7721"/>
              <a:gd name="T40" fmla="*/ 1183 w 11748"/>
              <a:gd name="T41" fmla="*/ 5412 h 7721"/>
              <a:gd name="T42" fmla="*/ 0 w 11748"/>
              <a:gd name="T43" fmla="*/ 6474 h 7721"/>
              <a:gd name="T44" fmla="*/ 1183 w 11748"/>
              <a:gd name="T45" fmla="*/ 7535 h 7721"/>
              <a:gd name="T46" fmla="*/ 1183 w 11748"/>
              <a:gd name="T47" fmla="*/ 6840 h 7721"/>
              <a:gd name="T48" fmla="*/ 7186 w 11748"/>
              <a:gd name="T49" fmla="*/ 6840 h 7721"/>
              <a:gd name="T50" fmla="*/ 7186 w 11748"/>
              <a:gd name="T51" fmla="*/ 6840 h 7721"/>
              <a:gd name="T52" fmla="*/ 9643 w 11748"/>
              <a:gd name="T53" fmla="*/ 7720 h 7721"/>
              <a:gd name="T54" fmla="*/ 9643 w 11748"/>
              <a:gd name="T55" fmla="*/ 7720 h 7721"/>
              <a:gd name="T56" fmla="*/ 11747 w 11748"/>
              <a:gd name="T57" fmla="*/ 7096 h 7721"/>
              <a:gd name="T58" fmla="*/ 11747 w 11748"/>
              <a:gd name="T59" fmla="*/ 7096 h 7721"/>
              <a:gd name="T60" fmla="*/ 11737 w 11748"/>
              <a:gd name="T61" fmla="*/ 7096 h 7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748" h="7721">
                <a:moveTo>
                  <a:pt x="11737" y="7096"/>
                </a:moveTo>
                <a:lnTo>
                  <a:pt x="11737" y="7096"/>
                </a:lnTo>
                <a:cubicBezTo>
                  <a:pt x="11351" y="7096"/>
                  <a:pt x="11039" y="6783"/>
                  <a:pt x="11039" y="6398"/>
                </a:cubicBezTo>
                <a:lnTo>
                  <a:pt x="11039" y="6398"/>
                </a:lnTo>
                <a:cubicBezTo>
                  <a:pt x="11039" y="6306"/>
                  <a:pt x="11056" y="6220"/>
                  <a:pt x="11089" y="6140"/>
                </a:cubicBezTo>
                <a:lnTo>
                  <a:pt x="11089" y="6140"/>
                </a:lnTo>
                <a:cubicBezTo>
                  <a:pt x="10670" y="6405"/>
                  <a:pt x="10174" y="6560"/>
                  <a:pt x="9643" y="6560"/>
                </a:cubicBezTo>
                <a:lnTo>
                  <a:pt x="9643" y="6560"/>
                </a:lnTo>
                <a:cubicBezTo>
                  <a:pt x="8148" y="6560"/>
                  <a:pt x="6935" y="5347"/>
                  <a:pt x="6935" y="3853"/>
                </a:cubicBezTo>
                <a:lnTo>
                  <a:pt x="6935" y="3853"/>
                </a:lnTo>
                <a:cubicBezTo>
                  <a:pt x="6935" y="2489"/>
                  <a:pt x="7943" y="1361"/>
                  <a:pt x="9254" y="1172"/>
                </a:cubicBezTo>
                <a:lnTo>
                  <a:pt x="9254" y="1172"/>
                </a:lnTo>
                <a:cubicBezTo>
                  <a:pt x="9075" y="1046"/>
                  <a:pt x="8958" y="837"/>
                  <a:pt x="8958" y="602"/>
                </a:cubicBezTo>
                <a:lnTo>
                  <a:pt x="8958" y="602"/>
                </a:lnTo>
                <a:cubicBezTo>
                  <a:pt x="8958" y="345"/>
                  <a:pt x="9096" y="121"/>
                  <a:pt x="9302" y="0"/>
                </a:cubicBezTo>
                <a:lnTo>
                  <a:pt x="9302" y="0"/>
                </a:lnTo>
                <a:cubicBezTo>
                  <a:pt x="7326" y="172"/>
                  <a:pt x="5775" y="1830"/>
                  <a:pt x="5775" y="3853"/>
                </a:cubicBezTo>
                <a:lnTo>
                  <a:pt x="5775" y="3853"/>
                </a:lnTo>
                <a:cubicBezTo>
                  <a:pt x="5775" y="4663"/>
                  <a:pt x="6025" y="5415"/>
                  <a:pt x="6451" y="6037"/>
                </a:cubicBezTo>
                <a:lnTo>
                  <a:pt x="1183" y="6037"/>
                </a:lnTo>
                <a:lnTo>
                  <a:pt x="1183" y="5412"/>
                </a:lnTo>
                <a:lnTo>
                  <a:pt x="0" y="6474"/>
                </a:lnTo>
                <a:lnTo>
                  <a:pt x="1183" y="7535"/>
                </a:lnTo>
                <a:lnTo>
                  <a:pt x="1183" y="6840"/>
                </a:lnTo>
                <a:lnTo>
                  <a:pt x="7186" y="6840"/>
                </a:lnTo>
                <a:lnTo>
                  <a:pt x="7186" y="6840"/>
                </a:lnTo>
                <a:cubicBezTo>
                  <a:pt x="7854" y="7390"/>
                  <a:pt x="8710" y="7720"/>
                  <a:pt x="9643" y="7720"/>
                </a:cubicBezTo>
                <a:lnTo>
                  <a:pt x="9643" y="7720"/>
                </a:lnTo>
                <a:cubicBezTo>
                  <a:pt x="10419" y="7720"/>
                  <a:pt x="11142" y="7491"/>
                  <a:pt x="11747" y="7096"/>
                </a:cubicBezTo>
                <a:lnTo>
                  <a:pt x="11747" y="7096"/>
                </a:lnTo>
                <a:cubicBezTo>
                  <a:pt x="11744" y="7096"/>
                  <a:pt x="11741" y="7096"/>
                  <a:pt x="11737" y="7096"/>
                </a:cubicBez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65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10" name="Freeform 207" descr="Halbkreis mit Pfeil nach rechts">
            <a:extLst>
              <a:ext uri="{FF2B5EF4-FFF2-40B4-BE49-F238E27FC236}">
                <a16:creationId xmlns:a16="http://schemas.microsoft.com/office/drawing/2014/main" id="{C7A9E764-7251-7004-26CC-049B1D65B540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620945" y="1951523"/>
            <a:ext cx="2569464" cy="1692000"/>
          </a:xfrm>
          <a:custGeom>
            <a:avLst/>
            <a:gdLst>
              <a:gd name="T0" fmla="*/ 9271 w 9272"/>
              <a:gd name="T1" fmla="*/ 1241 h 6540"/>
              <a:gd name="T2" fmla="*/ 8088 w 9272"/>
              <a:gd name="T3" fmla="*/ 179 h 6540"/>
              <a:gd name="T4" fmla="*/ 8088 w 9272"/>
              <a:gd name="T5" fmla="*/ 863 h 6540"/>
              <a:gd name="T6" fmla="*/ 2087 w 9272"/>
              <a:gd name="T7" fmla="*/ 863 h 6540"/>
              <a:gd name="T8" fmla="*/ 2087 w 9272"/>
              <a:gd name="T9" fmla="*/ 863 h 6540"/>
              <a:gd name="T10" fmla="*/ 0 w 9272"/>
              <a:gd name="T11" fmla="*/ 0 h 6540"/>
              <a:gd name="T12" fmla="*/ 0 w 9272"/>
              <a:gd name="T13" fmla="*/ 0 h 6540"/>
              <a:gd name="T14" fmla="*/ 340 w 9272"/>
              <a:gd name="T15" fmla="*/ 599 h 6540"/>
              <a:gd name="T16" fmla="*/ 340 w 9272"/>
              <a:gd name="T17" fmla="*/ 599 h 6540"/>
              <a:gd name="T18" fmla="*/ 39 w 9272"/>
              <a:gd name="T19" fmla="*/ 1173 h 6540"/>
              <a:gd name="T20" fmla="*/ 39 w 9272"/>
              <a:gd name="T21" fmla="*/ 1173 h 6540"/>
              <a:gd name="T22" fmla="*/ 2336 w 9272"/>
              <a:gd name="T23" fmla="*/ 3850 h 6540"/>
              <a:gd name="T24" fmla="*/ 2336 w 9272"/>
              <a:gd name="T25" fmla="*/ 3850 h 6540"/>
              <a:gd name="T26" fmla="*/ 1595 w 9272"/>
              <a:gd name="T27" fmla="*/ 5709 h 6540"/>
              <a:gd name="T28" fmla="*/ 1595 w 9272"/>
              <a:gd name="T29" fmla="*/ 5709 h 6540"/>
              <a:gd name="T30" fmla="*/ 1724 w 9272"/>
              <a:gd name="T31" fmla="*/ 5697 h 6540"/>
              <a:gd name="T32" fmla="*/ 1724 w 9272"/>
              <a:gd name="T33" fmla="*/ 5697 h 6540"/>
              <a:gd name="T34" fmla="*/ 2422 w 9272"/>
              <a:gd name="T35" fmla="*/ 6395 h 6540"/>
              <a:gd name="T36" fmla="*/ 2422 w 9272"/>
              <a:gd name="T37" fmla="*/ 6395 h 6540"/>
              <a:gd name="T38" fmla="*/ 2407 w 9272"/>
              <a:gd name="T39" fmla="*/ 6539 h 6540"/>
              <a:gd name="T40" fmla="*/ 2407 w 9272"/>
              <a:gd name="T41" fmla="*/ 6539 h 6540"/>
              <a:gd name="T42" fmla="*/ 3496 w 9272"/>
              <a:gd name="T43" fmla="*/ 3850 h 6540"/>
              <a:gd name="T44" fmla="*/ 3496 w 9272"/>
              <a:gd name="T45" fmla="*/ 3850 h 6540"/>
              <a:gd name="T46" fmla="*/ 2821 w 9272"/>
              <a:gd name="T47" fmla="*/ 1666 h 6540"/>
              <a:gd name="T48" fmla="*/ 8088 w 9272"/>
              <a:gd name="T49" fmla="*/ 1666 h 6540"/>
              <a:gd name="T50" fmla="*/ 8088 w 9272"/>
              <a:gd name="T51" fmla="*/ 2303 h 6540"/>
              <a:gd name="T52" fmla="*/ 9271 w 9272"/>
              <a:gd name="T53" fmla="*/ 1241 h 6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272" h="6540">
                <a:moveTo>
                  <a:pt x="9271" y="1241"/>
                </a:moveTo>
                <a:lnTo>
                  <a:pt x="8088" y="179"/>
                </a:lnTo>
                <a:lnTo>
                  <a:pt x="8088" y="863"/>
                </a:lnTo>
                <a:lnTo>
                  <a:pt x="2087" y="863"/>
                </a:lnTo>
                <a:lnTo>
                  <a:pt x="2087" y="863"/>
                </a:lnTo>
                <a:cubicBezTo>
                  <a:pt x="1508" y="387"/>
                  <a:pt x="789" y="75"/>
                  <a:pt x="0" y="0"/>
                </a:cubicBezTo>
                <a:lnTo>
                  <a:pt x="0" y="0"/>
                </a:lnTo>
                <a:cubicBezTo>
                  <a:pt x="204" y="121"/>
                  <a:pt x="340" y="344"/>
                  <a:pt x="340" y="599"/>
                </a:cubicBezTo>
                <a:lnTo>
                  <a:pt x="340" y="599"/>
                </a:lnTo>
                <a:cubicBezTo>
                  <a:pt x="340" y="836"/>
                  <a:pt x="221" y="1047"/>
                  <a:pt x="39" y="1173"/>
                </a:cubicBezTo>
                <a:lnTo>
                  <a:pt x="39" y="1173"/>
                </a:lnTo>
                <a:cubicBezTo>
                  <a:pt x="1339" y="1370"/>
                  <a:pt x="2336" y="2493"/>
                  <a:pt x="2336" y="3850"/>
                </a:cubicBezTo>
                <a:lnTo>
                  <a:pt x="2336" y="3850"/>
                </a:lnTo>
                <a:cubicBezTo>
                  <a:pt x="2336" y="4569"/>
                  <a:pt x="2054" y="5224"/>
                  <a:pt x="1595" y="5709"/>
                </a:cubicBezTo>
                <a:lnTo>
                  <a:pt x="1595" y="5709"/>
                </a:lnTo>
                <a:cubicBezTo>
                  <a:pt x="1637" y="5702"/>
                  <a:pt x="1680" y="5697"/>
                  <a:pt x="1724" y="5697"/>
                </a:cubicBezTo>
                <a:lnTo>
                  <a:pt x="1724" y="5697"/>
                </a:lnTo>
                <a:cubicBezTo>
                  <a:pt x="2110" y="5697"/>
                  <a:pt x="2422" y="6010"/>
                  <a:pt x="2422" y="6395"/>
                </a:cubicBezTo>
                <a:lnTo>
                  <a:pt x="2422" y="6395"/>
                </a:lnTo>
                <a:cubicBezTo>
                  <a:pt x="2422" y="6444"/>
                  <a:pt x="2417" y="6493"/>
                  <a:pt x="2407" y="6539"/>
                </a:cubicBezTo>
                <a:lnTo>
                  <a:pt x="2407" y="6539"/>
                </a:lnTo>
                <a:cubicBezTo>
                  <a:pt x="3081" y="5843"/>
                  <a:pt x="3496" y="4894"/>
                  <a:pt x="3496" y="3850"/>
                </a:cubicBezTo>
                <a:lnTo>
                  <a:pt x="3496" y="3850"/>
                </a:lnTo>
                <a:cubicBezTo>
                  <a:pt x="3496" y="3039"/>
                  <a:pt x="3247" y="2288"/>
                  <a:pt x="2821" y="1666"/>
                </a:cubicBezTo>
                <a:lnTo>
                  <a:pt x="8088" y="1666"/>
                </a:lnTo>
                <a:lnTo>
                  <a:pt x="8088" y="2303"/>
                </a:lnTo>
                <a:lnTo>
                  <a:pt x="9271" y="124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65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14" name="Inhaltsplatzhalter 12">
            <a:extLst>
              <a:ext uri="{FF2B5EF4-FFF2-40B4-BE49-F238E27FC236}">
                <a16:creationId xmlns:a16="http://schemas.microsoft.com/office/drawing/2014/main" id="{8EB39679-F777-770C-A08A-26D34F9A452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1188" y="1300163"/>
            <a:ext cx="2755900" cy="1862137"/>
          </a:xfrm>
        </p:spPr>
        <p:txBody>
          <a:bodyPr anchor="b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Inhaltsplatzhalter 12">
            <a:extLst>
              <a:ext uri="{FF2B5EF4-FFF2-40B4-BE49-F238E27FC236}">
                <a16:creationId xmlns:a16="http://schemas.microsoft.com/office/drawing/2014/main" id="{61A39CF9-6311-5ACB-256C-EFD4F2258C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12459" y="2681661"/>
            <a:ext cx="2755900" cy="18621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08653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3 Kreis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E55AC85-5CDD-9122-BC40-88F770DBD2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31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5AC85-5CDD-9122-BC40-88F770DBD2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DFE08E9-1A7D-7B39-D89C-71E16E7CE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7E93B2-2AC2-A0D5-8428-AFB878A6A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2F5244A-F5F5-4E51-B17C-7BF9942FD957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594E4C0-212B-FA21-3C48-CEC7534AA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3CC310-70CF-EC61-563C-2BB9C5AAF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6" name="Diagrammplatzhalter 5" descr="Kreisdiagramm 1">
            <a:extLst>
              <a:ext uri="{FF2B5EF4-FFF2-40B4-BE49-F238E27FC236}">
                <a16:creationId xmlns:a16="http://schemas.microsoft.com/office/drawing/2014/main" id="{B3E3CFA0-F449-3DB8-8B63-F01EE48D43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9138" y="1017767"/>
            <a:ext cx="2306941" cy="1852654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3290017B-3CF6-9D1F-CDC0-12B960870F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558" y="2806786"/>
            <a:ext cx="2306942" cy="1565189"/>
          </a:xfrm>
        </p:spPr>
        <p:txBody>
          <a:bodyPr/>
          <a:lstStyle>
            <a:lvl1pPr marL="0" indent="0" rtl="0">
              <a:buFontTx/>
              <a:buNone/>
              <a:defRPr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Diagrammplatzhalter 5" descr="Kreisdiagramm 2">
            <a:extLst>
              <a:ext uri="{FF2B5EF4-FFF2-40B4-BE49-F238E27FC236}">
                <a16:creationId xmlns:a16="http://schemas.microsoft.com/office/drawing/2014/main" id="{44C78489-7F75-750F-2630-5CB66BC4D9A1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19320" y="1017754"/>
            <a:ext cx="2306941" cy="1852653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D691774-DF1B-87E7-7A1F-BEEA49560E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9064" y="2806786"/>
            <a:ext cx="2306942" cy="1565189"/>
          </a:xfrm>
        </p:spPr>
        <p:txBody>
          <a:bodyPr/>
          <a:lstStyle>
            <a:lvl1pPr marL="0" indent="0" rtl="0">
              <a:buFontTx/>
              <a:buNone/>
              <a:defRPr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Diagrammplatzhalter 5" descr="Kreisdiagramm 3&#10;">
            <a:extLst>
              <a:ext uri="{FF2B5EF4-FFF2-40B4-BE49-F238E27FC236}">
                <a16:creationId xmlns:a16="http://schemas.microsoft.com/office/drawing/2014/main" id="{96FF06D2-3DC4-E70A-11B2-933BC262D5B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27453" y="1017742"/>
            <a:ext cx="2306941" cy="1852653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Diagramm durch Klicken auf Symbol hinzufüg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209A7E6-68C1-0AFA-5130-9213468D51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28516" y="2790909"/>
            <a:ext cx="2306942" cy="1581066"/>
          </a:xfrm>
        </p:spPr>
        <p:txBody>
          <a:bodyPr/>
          <a:lstStyle>
            <a:lvl1pPr marL="0" indent="0" rtl="0">
              <a:buFontTx/>
              <a:buNone/>
              <a:defRPr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E18C17D-2F27-95C1-B63B-2B7108699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557" y="4516438"/>
            <a:ext cx="7293695" cy="123111"/>
          </a:xfrm>
        </p:spPr>
        <p:txBody>
          <a:bodyPr>
            <a:spAutoFit/>
          </a:bodyPr>
          <a:lstStyle>
            <a:lvl1pPr marL="0" indent="0" algn="l" rtl="0">
              <a:buNone/>
              <a:defRPr sz="800" b="1">
                <a:solidFill>
                  <a:schemeClr val="tx1"/>
                </a:solidFill>
              </a:defRPr>
            </a:lvl1pPr>
            <a:lvl2pPr marL="342900" indent="0">
              <a:buNone/>
              <a:defRPr sz="1000">
                <a:solidFill>
                  <a:schemeClr val="bg1">
                    <a:lumMod val="75000"/>
                  </a:schemeClr>
                </a:solidFill>
              </a:defRPr>
            </a:lvl2pPr>
            <a:lvl3pPr marL="685800" indent="0">
              <a:buNone/>
              <a:defRPr sz="1000">
                <a:solidFill>
                  <a:schemeClr val="bg1">
                    <a:lumMod val="75000"/>
                  </a:schemeClr>
                </a:solidFill>
              </a:defRPr>
            </a:lvl3pPr>
            <a:lvl4pPr marL="1028700" indent="0">
              <a:buNone/>
              <a:defRPr sz="1000">
                <a:solidFill>
                  <a:schemeClr val="bg1">
                    <a:lumMod val="75000"/>
                  </a:schemeClr>
                </a:solidFill>
              </a:defRPr>
            </a:lvl4pPr>
            <a:lvl5pPr marL="1371600" indent="0">
              <a:buNone/>
              <a:defRPr sz="10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de-AT" dirty="0"/>
              <a:t>Quellenangabe und Zusatzinformationen</a:t>
            </a:r>
          </a:p>
        </p:txBody>
      </p:sp>
    </p:spTree>
    <p:extLst>
      <p:ext uri="{BB962C8B-B14F-4D97-AF65-F5344CB8AC3E}">
        <p14:creationId xmlns:p14="http://schemas.microsoft.com/office/powerpoint/2010/main" val="25118524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schrit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8030027-FC0F-C6C2-5FC3-CB2804F396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321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030027-FC0F-C6C2-5FC3-CB2804F39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4F3983-7BD1-CBE0-ADDD-8547CDD07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9922DCE-1D8E-5F60-28BD-0F81643BA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7EAEC29-6420-4B82-91B6-69A6E78503C5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DFA8A6-8AC4-320F-D58C-3ABC1D20B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F7ECCB4-11A7-C5FE-0B97-8DB9EF55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9DD1922-11F7-B07F-A8FF-C0E081616E33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1458320" y="1311275"/>
            <a:ext cx="977900" cy="382588"/>
          </a:xfrm>
          <a:solidFill>
            <a:schemeClr val="accent1"/>
          </a:solidFill>
        </p:spPr>
        <p:txBody>
          <a:bodyPr anchor="ctr" anchorCtr="0"/>
          <a:lstStyle>
            <a:lvl1pPr marL="0" indent="0" algn="ctr" rtl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03C88904-4D96-BFF6-6CC6-90D5A1B29E95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395288" y="1419224"/>
            <a:ext cx="1800000" cy="3097213"/>
          </a:xfrm>
          <a:noFill/>
          <a:ln w="12700">
            <a:solidFill>
              <a:schemeClr val="accent1"/>
            </a:solidFill>
          </a:ln>
        </p:spPr>
        <p:txBody>
          <a:bodyPr lIns="108000" tIns="432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796820-4E3F-F2B8-81EE-3D04046F5F1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577608" y="1311275"/>
            <a:ext cx="977900" cy="382588"/>
          </a:xfrm>
          <a:solidFill>
            <a:schemeClr val="accent1"/>
          </a:solidFill>
        </p:spPr>
        <p:txBody>
          <a:bodyPr anchor="ctr" anchorCtr="0"/>
          <a:lstStyle>
            <a:lvl1pPr marL="0" indent="0" algn="ctr" rtl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DF5E20F5-3B6C-5187-3011-933742F4F98B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2538823" y="1419224"/>
            <a:ext cx="1800000" cy="3097213"/>
          </a:xfrm>
          <a:noFill/>
          <a:ln w="12700">
            <a:solidFill>
              <a:schemeClr val="accent1"/>
            </a:solidFill>
          </a:ln>
        </p:spPr>
        <p:txBody>
          <a:bodyPr lIns="108000" tIns="432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3EF6F42-3A55-162C-250B-FA2B3059F06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686037" y="1311275"/>
            <a:ext cx="977900" cy="382588"/>
          </a:xfrm>
          <a:solidFill>
            <a:schemeClr val="accent1"/>
          </a:solidFill>
        </p:spPr>
        <p:txBody>
          <a:bodyPr anchor="ctr" anchorCtr="0"/>
          <a:lstStyle>
            <a:lvl1pPr marL="0" indent="0" algn="ctr" rtl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A2C21F1F-0066-214D-8EAE-F0D1015932D6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4661739" y="1419225"/>
            <a:ext cx="1800000" cy="3097212"/>
          </a:xfrm>
          <a:noFill/>
          <a:ln w="12700">
            <a:solidFill>
              <a:schemeClr val="accent1"/>
            </a:solidFill>
          </a:ln>
        </p:spPr>
        <p:txBody>
          <a:bodyPr lIns="108000" tIns="432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358FC636-F45B-6153-6420-4BE01DB56203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791771" y="1311275"/>
            <a:ext cx="977900" cy="382588"/>
          </a:xfrm>
          <a:solidFill>
            <a:schemeClr val="accent1"/>
          </a:solidFill>
        </p:spPr>
        <p:txBody>
          <a:bodyPr anchor="ctr" anchorCtr="0"/>
          <a:lstStyle>
            <a:lvl1pPr marL="0" indent="0" algn="ctr" rtl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7857F854-14B1-8FAB-28B9-D06318C840C1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732813" y="1419224"/>
            <a:ext cx="1800000" cy="3097213"/>
          </a:xfrm>
          <a:noFill/>
          <a:ln w="12700">
            <a:solidFill>
              <a:schemeClr val="accent1"/>
            </a:solidFill>
          </a:ln>
        </p:spPr>
        <p:txBody>
          <a:bodyPr lIns="108000" tIns="432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7748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 Un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AE8A00-0A5B-148B-250B-5250C565D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857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AE8A00-0A5B-148B-250B-5250C565D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313" y="1347789"/>
            <a:ext cx="3852861" cy="2513012"/>
          </a:xfrm>
        </p:spPr>
        <p:txBody>
          <a:bodyPr vert="horz" anchor="b"/>
          <a:lstStyle>
            <a:lvl1pPr algn="l" rtl="0">
              <a:lnSpc>
                <a:spcPct val="80000"/>
              </a:lnSpc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40312" y="3867150"/>
            <a:ext cx="3852863" cy="845278"/>
          </a:xfrm>
        </p:spPr>
        <p:txBody>
          <a:bodyPr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5D1E07D-BE97-F33E-51D3-C87618DB885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-1" y="0"/>
            <a:ext cx="4572001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2A8193D0-DD15-F350-B073-E3C3BBC812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rot="5400000">
            <a:off x="-1023067" y="1023068"/>
            <a:ext cx="4649999" cy="2603865"/>
          </a:xfrm>
          <a:custGeom>
            <a:avLst/>
            <a:gdLst>
              <a:gd name="connsiteX0" fmla="*/ 0 w 4649999"/>
              <a:gd name="connsiteY0" fmla="*/ 1532685 h 2603865"/>
              <a:gd name="connsiteX1" fmla="*/ 0 w 4649999"/>
              <a:gd name="connsiteY1" fmla="*/ 0 h 2603865"/>
              <a:gd name="connsiteX2" fmla="*/ 195396 w 4649999"/>
              <a:gd name="connsiteY2" fmla="*/ 14841 h 2603865"/>
              <a:gd name="connsiteX3" fmla="*/ 4548831 w 4649999"/>
              <a:gd name="connsiteY3" fmla="*/ 2463996 h 2603865"/>
              <a:gd name="connsiteX4" fmla="*/ 4649999 w 4649999"/>
              <a:gd name="connsiteY4" fmla="*/ 2603865 h 2603865"/>
              <a:gd name="connsiteX5" fmla="*/ 2561285 w 4649999"/>
              <a:gd name="connsiteY5" fmla="*/ 2603865 h 2603865"/>
              <a:gd name="connsiteX6" fmla="*/ 2418248 w 4649999"/>
              <a:gd name="connsiteY6" fmla="*/ 2483655 h 2603865"/>
              <a:gd name="connsiteX7" fmla="*/ 28453 w 4649999"/>
              <a:gd name="connsiteY7" fmla="*/ 1534848 h 260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9999" h="2603865">
                <a:moveTo>
                  <a:pt x="0" y="1532685"/>
                </a:moveTo>
                <a:lnTo>
                  <a:pt x="0" y="0"/>
                </a:lnTo>
                <a:lnTo>
                  <a:pt x="195396" y="14841"/>
                </a:lnTo>
                <a:cubicBezTo>
                  <a:pt x="1970903" y="194943"/>
                  <a:pt x="3527048" y="1116205"/>
                  <a:pt x="4548831" y="2463996"/>
                </a:cubicBezTo>
                <a:lnTo>
                  <a:pt x="4649999" y="2603865"/>
                </a:lnTo>
                <a:lnTo>
                  <a:pt x="2561285" y="2603865"/>
                </a:lnTo>
                <a:lnTo>
                  <a:pt x="2418248" y="2483655"/>
                </a:lnTo>
                <a:cubicBezTo>
                  <a:pt x="1742239" y="1965367"/>
                  <a:pt x="922151" y="1625608"/>
                  <a:pt x="28453" y="1534848"/>
                </a:cubicBezTo>
                <a:close/>
              </a:path>
            </a:pathLst>
          </a:custGeom>
          <a:solidFill>
            <a:schemeClr val="accent1">
              <a:alpha val="60057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</a:t>
            </a:r>
          </a:p>
        </p:txBody>
      </p:sp>
      <p:pic>
        <p:nvPicPr>
          <p:cNvPr id="9" name="Grafik 8" descr="Logo Universität Graz">
            <a:extLst>
              <a:ext uri="{FF2B5EF4-FFF2-40B4-BE49-F238E27FC236}">
                <a16:creationId xmlns:a16="http://schemas.microsoft.com/office/drawing/2014/main" id="{10638103-35BA-652B-D91B-099CCE5B8B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238" y="231775"/>
            <a:ext cx="3678936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24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3175" userDrawn="1">
          <p15:clr>
            <a:srgbClr val="FBAE40"/>
          </p15:clr>
        </p15:guide>
        <p15:guide id="6" orient="horz" pos="243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pha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1D1BF69-EE9E-226B-A7E9-408EABDBC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942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D1BF69-EE9E-226B-A7E9-408EABDBC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F2FCA1-562C-C9B1-2525-13A03DCB3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7FADF4-033E-F2C8-7925-9E27D83AC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224BDC-1198-44F4-BC2F-8C874AF4817E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DECC26-B5FC-5ED6-CAD3-43D2C0EC2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F6A09C-717E-399D-99C1-E4E03EEC7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AF464A1-4A49-088C-C568-FE6E8A92B7DD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95287" y="1322388"/>
            <a:ext cx="1908087" cy="382588"/>
          </a:xfr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A526CA80-70B7-DFB4-62A6-E3BADDA490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5288" y="1716089"/>
            <a:ext cx="1908000" cy="2800347"/>
          </a:xfr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txBody>
          <a:bodyPr lIns="108000" tIns="180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2F29347-25BF-AAAF-64D1-86DF145CEF6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542695" y="1322389"/>
            <a:ext cx="1908001" cy="393700"/>
          </a:xfr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anchor="ctr" anchorCtr="0"/>
          <a:lstStyle>
            <a:lvl1pPr marL="0" indent="0" algn="ctr" rtl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97D2556D-A275-EA5B-C4F4-E2F4FE96B7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42782" y="1726734"/>
            <a:ext cx="1908000" cy="2800348"/>
          </a:xfr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</p:spPr>
        <p:txBody>
          <a:bodyPr lIns="108000" tIns="180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7A29F64B-7A54-5D00-67F1-8E5A603FCFF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690017" y="1311274"/>
            <a:ext cx="1908000" cy="415459"/>
          </a:xfr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 rtl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FA0BE647-8F58-F5DB-E843-742EBC0529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90276" y="1726733"/>
            <a:ext cx="1908000" cy="2789705"/>
          </a:xfr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txBody>
          <a:bodyPr lIns="108000" tIns="180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081A9503-909E-7861-F6DE-5559AC7C6F3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837252" y="1311275"/>
            <a:ext cx="1908000" cy="404814"/>
          </a:xfr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anchor="ctr" anchorCtr="0"/>
          <a:lstStyle>
            <a:lvl1pPr marL="0" indent="0" algn="ctr" rtl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73EE97A0-96FD-CD7F-1759-3305DFDBE4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37771" y="1726731"/>
            <a:ext cx="1908000" cy="2789705"/>
          </a:xfr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4"/>
            </a:solidFill>
          </a:ln>
        </p:spPr>
        <p:txBody>
          <a:bodyPr lIns="108000" tIns="180000" rIns="108000" bIns="180000"/>
          <a:lstStyle>
            <a:lvl1pPr marL="0" indent="0" rtl="0">
              <a:spcBef>
                <a:spcPts val="0"/>
              </a:spcBef>
              <a:buNone/>
              <a:defRPr sz="1100"/>
            </a:lvl1pPr>
            <a:lvl2pPr marL="342900" indent="0">
              <a:buNone/>
              <a:defRPr sz="1400"/>
            </a:lvl2pPr>
            <a:lvl3pPr marL="685800" indent="0">
              <a:buNone/>
              <a:defRPr sz="14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18089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izen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2770D226-10B6-D69C-8A25-5DC43DD8C2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69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70D226-10B6-D69C-8A25-5DC43DD8C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14A917-FCF6-DCB3-43AD-3A791EBF4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C0D18C-FED0-D8B8-E8AB-8FE1B1BC8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6FDC842-6F73-40AE-8F5D-4EF18237895E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B915F5-4548-6F01-65DC-5A0901AFE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778750-2EE3-6C04-5249-B86A9E2DC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6" name="Textplatzhalter 6" title="Notiz">
            <a:extLst>
              <a:ext uri="{FF2B5EF4-FFF2-40B4-BE49-F238E27FC236}">
                <a16:creationId xmlns:a16="http://schemas.microsoft.com/office/drawing/2014/main" id="{0D7D1B92-8701-4E7D-4C04-307D05E021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1311274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C9ADD889-ECB0-F6E0-6B12-0696D44DF6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554042" y="2577265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  <p:sp>
        <p:nvSpPr>
          <p:cNvPr id="8" name="Textplatzhalter 6" title="Notiz">
            <a:extLst>
              <a:ext uri="{FF2B5EF4-FFF2-40B4-BE49-F238E27FC236}">
                <a16:creationId xmlns:a16="http://schemas.microsoft.com/office/drawing/2014/main" id="{FDDAA7DF-CCE1-5559-DC59-0E69A1EBD8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36661" y="1311274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0178648F-74CB-5107-C02C-230A853B45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78996" y="2577265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  <p:sp>
        <p:nvSpPr>
          <p:cNvPr id="10" name="Textplatzhalter 6" title="Notiz">
            <a:extLst>
              <a:ext uri="{FF2B5EF4-FFF2-40B4-BE49-F238E27FC236}">
                <a16:creationId xmlns:a16="http://schemas.microsoft.com/office/drawing/2014/main" id="{6CFDC802-B4FA-8465-358E-76F7396D4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2134" y="1311275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B4E1B7B6-6B02-C6CE-8C21-F998D01574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8422" y="2573764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  <p:sp>
        <p:nvSpPr>
          <p:cNvPr id="12" name="Textplatzhalter 6" title="Notiz">
            <a:extLst>
              <a:ext uri="{FF2B5EF4-FFF2-40B4-BE49-F238E27FC236}">
                <a16:creationId xmlns:a16="http://schemas.microsoft.com/office/drawing/2014/main" id="{3FF14033-9AEB-0107-BB6D-1D703E45E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4494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424BB1B-D2D7-767D-B429-16B908E88F2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54042" y="4272532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  <p:sp>
        <p:nvSpPr>
          <p:cNvPr id="14" name="Textplatzhalter 6" title="Notiz">
            <a:extLst>
              <a:ext uri="{FF2B5EF4-FFF2-40B4-BE49-F238E27FC236}">
                <a16:creationId xmlns:a16="http://schemas.microsoft.com/office/drawing/2014/main" id="{FE404B69-3DA8-D08B-E981-32B16A69A46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6661" y="2941350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901E4B4F-DBF8-9CCB-6EA9-072E9507FA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78995" y="4272439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  <p:sp>
        <p:nvSpPr>
          <p:cNvPr id="16" name="Textplatzhalter 6" title="Notiz">
            <a:extLst>
              <a:ext uri="{FF2B5EF4-FFF2-40B4-BE49-F238E27FC236}">
                <a16:creationId xmlns:a16="http://schemas.microsoft.com/office/drawing/2014/main" id="{DA1E6D8F-6FD4-0045-51D8-0A1FB99A13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134" y="2934494"/>
            <a:ext cx="2160000" cy="1440000"/>
          </a:xfrm>
          <a:solidFill>
            <a:schemeClr val="bg1"/>
          </a:solidFill>
        </p:spPr>
        <p:txBody>
          <a:bodyPr lIns="72000" tIns="36000" rIns="72000" bIns="36000"/>
          <a:lstStyle>
            <a:lvl1pPr marL="0" indent="0" rtl="0">
              <a:buFontTx/>
              <a:buNone/>
              <a:defRPr sz="1100" baseline="0"/>
            </a:lvl1pPr>
          </a:lstStyle>
          <a:p>
            <a:pPr lvl="0"/>
            <a:r>
              <a:rPr lang="de-AT" dirty="0"/>
              <a:t>Notiz einfügen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736DE6D-E4DD-25F9-4D5B-20BD1625443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18421" y="4268065"/>
            <a:ext cx="432000" cy="252000"/>
          </a:xfrm>
          <a:solidFill>
            <a:schemeClr val="bg1"/>
          </a:solidFill>
        </p:spPr>
        <p:txBody>
          <a:bodyPr anchor="ctr" anchorCtr="0"/>
          <a:lstStyle>
            <a:lvl1pPr marL="0" indent="0" algn="ctr" rtl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01.01.</a:t>
            </a:r>
          </a:p>
        </p:txBody>
      </p:sp>
    </p:spTree>
    <p:extLst>
      <p:ext uri="{BB962C8B-B14F-4D97-AF65-F5344CB8AC3E}">
        <p14:creationId xmlns:p14="http://schemas.microsoft.com/office/powerpoint/2010/main" val="31097568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Titel Farbe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C92495-67CA-106F-C587-9325F2F379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471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C92495-67CA-106F-C587-9325F2F37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7043A6-19EB-DCC3-DD02-48D17A81C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D5464-E073-3A9F-A93F-4A5480610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3EF78FF-0363-4596-A633-97149EBA7FB7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B8C89A-D9AB-FE59-4C54-F543E6CB8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EEE05-6935-371F-7298-26E71F239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096377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8FF4247-6558-1023-9A05-14E4BFB1EF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98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FF4247-6558-1023-9A05-14E4BFB1EF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4D7450-933F-57A1-4D35-1B862985C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88D5C0-C801-F67E-2114-1D591A6A6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5F0CFB3-77C6-4F0E-BE5D-78ED88B8508E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3F95DA-4A36-10D2-1795-8E03F414F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95B262-E3E0-DDC7-5925-3D691F244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127095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426085-0095-D2E3-2C08-0C169A5DA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314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426085-0095-D2E3-2C08-0C169A5DA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78888D-D036-B527-3624-88E34E765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870A81-DDDB-8A9C-A8D8-B247DF37E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F610B70-DE57-46D3-A5CF-B060D07777E9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A97205-ECB6-147B-33DD-699429050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DF7FE3-5C8F-B105-C59B-4140F7ABB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427C09B-2359-B0A4-863C-0EE185325A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50825" y="1347788"/>
            <a:ext cx="8642350" cy="33115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434155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6B6BFFE-9FFB-F602-B0B1-FD9FD460D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97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B6BFFE-9FFB-F602-B0B1-FD9FD460D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CE985A-B2E8-2986-717B-7F074D1FF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939834"/>
            <a:ext cx="6121400" cy="1186647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F83EF85-F6FA-1EF2-5E89-6B9C561B8E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3291840"/>
            <a:ext cx="3744912" cy="1367473"/>
          </a:xfrm>
        </p:spPr>
        <p:txBody>
          <a:bodyPr anchor="b" anchorCtr="0"/>
          <a:lstStyle>
            <a:lvl1pPr marL="0" indent="0" algn="r" rtl="0">
              <a:spcAft>
                <a:spcPts val="0"/>
              </a:spcAft>
              <a:buNone/>
              <a:defRPr sz="1000"/>
            </a:lvl1pPr>
            <a:lvl2pPr marL="288000" indent="0">
              <a:spcAft>
                <a:spcPts val="0"/>
              </a:spcAft>
              <a:buNone/>
              <a:defRPr sz="1000"/>
            </a:lvl2pPr>
            <a:lvl3pPr marL="677250" indent="0">
              <a:buNone/>
              <a:defRPr sz="1000"/>
            </a:lvl3pPr>
            <a:lvl4pPr marL="1020150" indent="0">
              <a:buNone/>
              <a:defRPr sz="1000"/>
            </a:lvl4pPr>
            <a:lvl5pPr marL="1363050" indent="0">
              <a:buNone/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64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14" userDrawn="1">
          <p15:clr>
            <a:srgbClr val="FBAE40"/>
          </p15:clr>
        </p15:guide>
        <p15:guide id="2" pos="3243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 Bil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45F8C12-1276-A640-CBA4-DD428C350B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563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F8C12-1276-A640-CBA4-DD428C350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E3D9D60C-994A-13D3-2818-7DF54F3252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6011864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08EC21-2719-7133-D923-F6CA8BAE3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934570"/>
            <a:ext cx="5080934" cy="3812241"/>
          </a:xfrm>
        </p:spPr>
        <p:txBody>
          <a:bodyPr vert="horz" anchor="t" anchorCtr="0"/>
          <a:lstStyle>
            <a:lvl1pPr rtl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530198-A93E-44E9-162E-34F07B9347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1863" y="2571750"/>
            <a:ext cx="2881312" cy="2087563"/>
          </a:xfrm>
        </p:spPr>
        <p:txBody>
          <a:bodyPr anchor="b" anchorCtr="0"/>
          <a:lstStyle>
            <a:lvl1pPr marL="0" indent="0" algn="r" rtl="0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071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7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 Bil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1BC76A-1636-6511-8C98-453660569F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4917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BC76A-1636-6511-8C98-453660569F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2F90F2-72F1-8457-1E17-7A8F0BA10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009574"/>
            <a:ext cx="3612963" cy="1562176"/>
          </a:xfrm>
        </p:spPr>
        <p:txBody>
          <a:bodyPr vert="horz" anchor="t" anchorCtr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CEAF657-7936-C075-B25B-0CC2FFDB79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0825" y="3155243"/>
            <a:ext cx="3612963" cy="1504070"/>
          </a:xfrm>
        </p:spPr>
        <p:txBody>
          <a:bodyPr anchor="b" anchorCtr="0"/>
          <a:lstStyle>
            <a:lvl1pPr marL="0" indent="0" algn="l" rtl="0"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E2F7E995-C89A-D09B-961C-7B8651B08ED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129483" y="996126"/>
            <a:ext cx="5014519" cy="4147375"/>
          </a:xfrm>
          <a:custGeom>
            <a:avLst/>
            <a:gdLst>
              <a:gd name="connsiteX0" fmla="*/ 2700000 w 5014519"/>
              <a:gd name="connsiteY0" fmla="*/ 0 h 4147375"/>
              <a:gd name="connsiteX1" fmla="*/ 4938882 w 5014519"/>
              <a:gd name="connsiteY1" fmla="*/ 1190405 h 4147375"/>
              <a:gd name="connsiteX2" fmla="*/ 5014519 w 5014519"/>
              <a:gd name="connsiteY2" fmla="*/ 1314906 h 4147375"/>
              <a:gd name="connsiteX3" fmla="*/ 5014519 w 5014519"/>
              <a:gd name="connsiteY3" fmla="*/ 4085094 h 4147375"/>
              <a:gd name="connsiteX4" fmla="*/ 5014517 w 5014519"/>
              <a:gd name="connsiteY4" fmla="*/ 4085098 h 4147375"/>
              <a:gd name="connsiteX5" fmla="*/ 5014517 w 5014519"/>
              <a:gd name="connsiteY5" fmla="*/ 4147374 h 4147375"/>
              <a:gd name="connsiteX6" fmla="*/ 4976683 w 5014519"/>
              <a:gd name="connsiteY6" fmla="*/ 4147374 h 4147375"/>
              <a:gd name="connsiteX7" fmla="*/ 4976682 w 5014519"/>
              <a:gd name="connsiteY7" fmla="*/ 4147375 h 4147375"/>
              <a:gd name="connsiteX8" fmla="*/ 423318 w 5014519"/>
              <a:gd name="connsiteY8" fmla="*/ 4147375 h 4147375"/>
              <a:gd name="connsiteX9" fmla="*/ 325876 w 5014519"/>
              <a:gd name="connsiteY9" fmla="*/ 3986981 h 4147375"/>
              <a:gd name="connsiteX10" fmla="*/ 0 w 5014519"/>
              <a:gd name="connsiteY10" fmla="*/ 2700000 h 4147375"/>
              <a:gd name="connsiteX11" fmla="*/ 2700000 w 5014519"/>
              <a:gd name="connsiteY11" fmla="*/ 0 h 414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14519" h="4147375">
                <a:moveTo>
                  <a:pt x="2700000" y="0"/>
                </a:moveTo>
                <a:cubicBezTo>
                  <a:pt x="3631981" y="0"/>
                  <a:pt x="4453673" y="472200"/>
                  <a:pt x="4938882" y="1190405"/>
                </a:cubicBezTo>
                <a:lnTo>
                  <a:pt x="5014519" y="1314906"/>
                </a:lnTo>
                <a:lnTo>
                  <a:pt x="5014519" y="4085094"/>
                </a:lnTo>
                <a:lnTo>
                  <a:pt x="5014517" y="4085098"/>
                </a:lnTo>
                <a:lnTo>
                  <a:pt x="5014517" y="4147374"/>
                </a:lnTo>
                <a:lnTo>
                  <a:pt x="4976683" y="4147374"/>
                </a:lnTo>
                <a:lnTo>
                  <a:pt x="4976682" y="4147375"/>
                </a:lnTo>
                <a:lnTo>
                  <a:pt x="423318" y="4147375"/>
                </a:lnTo>
                <a:lnTo>
                  <a:pt x="325876" y="3986981"/>
                </a:lnTo>
                <a:cubicBezTo>
                  <a:pt x="118050" y="3604409"/>
                  <a:pt x="0" y="3165990"/>
                  <a:pt x="0" y="2700000"/>
                </a:cubicBezTo>
                <a:cubicBezTo>
                  <a:pt x="0" y="1208831"/>
                  <a:pt x="1208831" y="0"/>
                  <a:pt x="2700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8732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5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3C77AF-AF48-B3BC-6563-B03B43F81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018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3C77AF-AF48-B3BC-6563-B03B43F81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CE985A-B2E8-2986-717B-7F074D1FF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347789"/>
            <a:ext cx="4897438" cy="325147"/>
          </a:xfrm>
        </p:spPr>
        <p:txBody>
          <a:bodyPr vert="horz" anchor="t" anchorCtr="0"/>
          <a:lstStyle>
            <a:lvl1pPr rtl="0">
              <a:defRPr sz="12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8567264-B050-F7C3-3FDE-2FBB79DCD3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0825" y="1672936"/>
            <a:ext cx="4897438" cy="2986377"/>
          </a:xfrm>
        </p:spPr>
        <p:txBody>
          <a:bodyPr numCol="3"/>
          <a:lstStyle>
            <a:lvl1pPr marL="0" indent="0" rtl="0">
              <a:spcAft>
                <a:spcPts val="300"/>
              </a:spcAft>
              <a:buFontTx/>
              <a:buNone/>
              <a:defRPr sz="6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F83EF85-F6FA-1EF2-5E89-6B9C561B8E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8263" y="3299791"/>
            <a:ext cx="3744912" cy="1359522"/>
          </a:xfrm>
        </p:spPr>
        <p:txBody>
          <a:bodyPr anchor="b" anchorCtr="0"/>
          <a:lstStyle>
            <a:lvl1pPr marL="0" indent="0" algn="r" rtl="0">
              <a:spcAft>
                <a:spcPts val="0"/>
              </a:spcAft>
              <a:buNone/>
              <a:defRPr sz="800"/>
            </a:lvl1pPr>
            <a:lvl2pPr marL="288000" indent="0" algn="r">
              <a:spcAft>
                <a:spcPts val="0"/>
              </a:spcAft>
              <a:buNone/>
              <a:defRPr sz="1000"/>
            </a:lvl2pPr>
            <a:lvl3pPr marL="677250" indent="0" algn="r">
              <a:buNone/>
              <a:defRPr sz="1000"/>
            </a:lvl3pPr>
            <a:lvl4pPr marL="1020150" indent="0" algn="r">
              <a:buNone/>
              <a:defRPr sz="1000"/>
            </a:lvl4pPr>
            <a:lvl5pPr marL="1363050" indent="0" algn="r">
              <a:buNone/>
              <a:defRPr sz="1000"/>
            </a:lvl5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81122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740" userDrawn="1">
          <p15:clr>
            <a:srgbClr val="FBAE40"/>
          </p15:clr>
        </p15:guide>
        <p15:guide id="3" pos="32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 Instit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6105F2-2E4D-65F3-3C90-9C4258C02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455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6105F2-2E4D-65F3-3C90-9C4258C02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313" y="1347789"/>
            <a:ext cx="3852861" cy="2513012"/>
          </a:xfrm>
        </p:spPr>
        <p:txBody>
          <a:bodyPr vert="horz" anchor="b"/>
          <a:lstStyle>
            <a:lvl1pPr algn="l" rtl="0">
              <a:lnSpc>
                <a:spcPct val="80000"/>
              </a:lnSpc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40312" y="3867150"/>
            <a:ext cx="3852863" cy="845278"/>
          </a:xfrm>
        </p:spPr>
        <p:txBody>
          <a:bodyPr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5D1E07D-BE97-F33E-51D3-C87618DB885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-1" y="0"/>
            <a:ext cx="4572001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2A8193D0-DD15-F350-B073-E3C3BBC812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rot="5400000">
            <a:off x="-1023067" y="1023068"/>
            <a:ext cx="4649999" cy="2603865"/>
          </a:xfrm>
          <a:custGeom>
            <a:avLst/>
            <a:gdLst>
              <a:gd name="connsiteX0" fmla="*/ 0 w 4649999"/>
              <a:gd name="connsiteY0" fmla="*/ 1532685 h 2603865"/>
              <a:gd name="connsiteX1" fmla="*/ 0 w 4649999"/>
              <a:gd name="connsiteY1" fmla="*/ 0 h 2603865"/>
              <a:gd name="connsiteX2" fmla="*/ 195396 w 4649999"/>
              <a:gd name="connsiteY2" fmla="*/ 14841 h 2603865"/>
              <a:gd name="connsiteX3" fmla="*/ 4548831 w 4649999"/>
              <a:gd name="connsiteY3" fmla="*/ 2463996 h 2603865"/>
              <a:gd name="connsiteX4" fmla="*/ 4649999 w 4649999"/>
              <a:gd name="connsiteY4" fmla="*/ 2603865 h 2603865"/>
              <a:gd name="connsiteX5" fmla="*/ 2561285 w 4649999"/>
              <a:gd name="connsiteY5" fmla="*/ 2603865 h 2603865"/>
              <a:gd name="connsiteX6" fmla="*/ 2418248 w 4649999"/>
              <a:gd name="connsiteY6" fmla="*/ 2483655 h 2603865"/>
              <a:gd name="connsiteX7" fmla="*/ 28453 w 4649999"/>
              <a:gd name="connsiteY7" fmla="*/ 1534848 h 260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9999" h="2603865">
                <a:moveTo>
                  <a:pt x="0" y="1532685"/>
                </a:moveTo>
                <a:lnTo>
                  <a:pt x="0" y="0"/>
                </a:lnTo>
                <a:lnTo>
                  <a:pt x="195396" y="14841"/>
                </a:lnTo>
                <a:cubicBezTo>
                  <a:pt x="1970903" y="194943"/>
                  <a:pt x="3527048" y="1116205"/>
                  <a:pt x="4548831" y="2463996"/>
                </a:cubicBezTo>
                <a:lnTo>
                  <a:pt x="4649999" y="2603865"/>
                </a:lnTo>
                <a:lnTo>
                  <a:pt x="2561285" y="2603865"/>
                </a:lnTo>
                <a:lnTo>
                  <a:pt x="2418248" y="2483655"/>
                </a:lnTo>
                <a:cubicBezTo>
                  <a:pt x="1742239" y="1965367"/>
                  <a:pt x="922151" y="1625608"/>
                  <a:pt x="28453" y="1534848"/>
                </a:cubicBezTo>
                <a:close/>
              </a:path>
            </a:pathLst>
          </a:custGeom>
          <a:solidFill>
            <a:schemeClr val="accent1">
              <a:alpha val="60057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 sz="100"/>
            </a:lvl1pPr>
          </a:lstStyle>
          <a:p>
            <a:pPr lvl="0"/>
            <a:r>
              <a:rPr lang="de-AT" dirty="0"/>
              <a:t>  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031382-6D8D-7B4F-4521-3E0E3B48EE5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993063" y="231775"/>
            <a:ext cx="900112" cy="773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AT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591356A-B41B-6CBA-6261-40607A84EA9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40314" y="-1"/>
            <a:ext cx="4103686" cy="1347789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Logo Institut</a:t>
            </a:r>
          </a:p>
        </p:txBody>
      </p:sp>
    </p:spTree>
    <p:extLst>
      <p:ext uri="{BB962C8B-B14F-4D97-AF65-F5344CB8AC3E}">
        <p14:creationId xmlns:p14="http://schemas.microsoft.com/office/powerpoint/2010/main" val="48726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3175" userDrawn="1">
          <p15:clr>
            <a:srgbClr val="FBAE40"/>
          </p15:clr>
        </p15:guide>
        <p15:guide id="6" orient="horz" pos="24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E107B1-BC58-F4B4-C448-5E6D84572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03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107B1-BC58-F4B4-C448-5E6D84572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8400" y="1347788"/>
            <a:ext cx="5184775" cy="2519361"/>
          </a:xfrm>
        </p:spPr>
        <p:txBody>
          <a:bodyPr vert="horz" anchor="b"/>
          <a:lstStyle>
            <a:lvl1pPr algn="l" rtl="0">
              <a:lnSpc>
                <a:spcPct val="80000"/>
              </a:lnSpc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0" y="3867150"/>
            <a:ext cx="5184775" cy="847588"/>
          </a:xfrm>
        </p:spPr>
        <p:txBody>
          <a:bodyPr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dirty="0"/>
              <a:t>Master-Untertitelformat bearbeiten</a:t>
            </a:r>
          </a:p>
        </p:txBody>
      </p:sp>
      <p:pic>
        <p:nvPicPr>
          <p:cNvPr id="9" name="Grafik 8" descr="Logo Universität Graz">
            <a:extLst>
              <a:ext uri="{FF2B5EF4-FFF2-40B4-BE49-F238E27FC236}">
                <a16:creationId xmlns:a16="http://schemas.microsoft.com/office/drawing/2014/main" id="{10638103-35BA-652B-D91B-099CCE5B8B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238" y="231775"/>
            <a:ext cx="3678936" cy="971550"/>
          </a:xfrm>
          <a:prstGeom prst="rect">
            <a:avLst/>
          </a:prstGeom>
        </p:spPr>
      </p:pic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B21B19E2-B967-3A3C-5EEB-548C5A419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1131887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e-AT" dirty="0"/>
              <a:t>   l,,</a:t>
            </a:r>
            <a:r>
              <a:rPr lang="de-AT" dirty="0" err="1"/>
              <a:t>öääö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344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2336" userDrawn="1">
          <p15:clr>
            <a:srgbClr val="FBAE40"/>
          </p15:clr>
        </p15:guide>
        <p15:guide id="6" orient="horz" pos="2436" userDrawn="1">
          <p15:clr>
            <a:srgbClr val="FBAE40"/>
          </p15:clr>
        </p15:guide>
        <p15:guide id="7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 Instit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474F83-AABD-5604-1096-0D94D5B6D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930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474F83-AABD-5604-1096-0D94D5B6D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B21B19E2-B967-3A3C-5EEB-548C5A419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0" y="1131887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e-AT" dirty="0"/>
              <a:t>   l,,</a:t>
            </a:r>
            <a:r>
              <a:rPr lang="de-AT" dirty="0" err="1"/>
              <a:t>öääö</a:t>
            </a:r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8400" y="1347787"/>
            <a:ext cx="5184775" cy="2519363"/>
          </a:xfrm>
        </p:spPr>
        <p:txBody>
          <a:bodyPr vert="horz" anchor="b"/>
          <a:lstStyle>
            <a:lvl1pPr algn="l" rtl="0">
              <a:lnSpc>
                <a:spcPct val="80000"/>
              </a:lnSpc>
              <a:defRPr sz="4500"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0" y="3867150"/>
            <a:ext cx="5184775" cy="847588"/>
          </a:xfrm>
        </p:spPr>
        <p:txBody>
          <a:bodyPr anchor="b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CACAF88-259C-3EA7-74C8-702063146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7993063" y="231775"/>
            <a:ext cx="900112" cy="778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AT" dirty="0"/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CD71807B-03B7-6545-F3D3-812F3D1E2423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5040312" y="0"/>
            <a:ext cx="4103687" cy="1347788"/>
          </a:xfrm>
        </p:spPr>
        <p:txBody>
          <a:bodyPr/>
          <a:lstStyle>
            <a:lvl1pPr rtl="0">
              <a:defRPr/>
            </a:lvl1pPr>
          </a:lstStyle>
          <a:p>
            <a:r>
              <a:rPr lang="de-AT" dirty="0"/>
              <a:t>Logo Institut</a:t>
            </a:r>
          </a:p>
        </p:txBody>
      </p:sp>
    </p:spTree>
    <p:extLst>
      <p:ext uri="{BB962C8B-B14F-4D97-AF65-F5344CB8AC3E}">
        <p14:creationId xmlns:p14="http://schemas.microsoft.com/office/powerpoint/2010/main" val="3048297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orient="horz" pos="509" userDrawn="1">
          <p15:clr>
            <a:srgbClr val="FBAE40"/>
          </p15:clr>
        </p15:guide>
        <p15:guide id="3" pos="4740" userDrawn="1">
          <p15:clr>
            <a:srgbClr val="FBAE40"/>
          </p15:clr>
        </p15:guide>
        <p15:guide id="4" orient="horz" pos="214" userDrawn="1">
          <p15:clr>
            <a:srgbClr val="FBAE40"/>
          </p15:clr>
        </p15:guide>
        <p15:guide id="5" pos="2336" userDrawn="1">
          <p15:clr>
            <a:srgbClr val="FBAE40"/>
          </p15:clr>
        </p15:guide>
        <p15:guide id="6" pos="3175" userDrawn="1">
          <p15:clr>
            <a:srgbClr val="FBAE40"/>
          </p15:clr>
        </p15:guide>
        <p15:guide id="7" orient="horz" pos="243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63F262F-729F-CA32-97EA-C4B53404A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375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3F262F-729F-CA32-97EA-C4B53404A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39907CD-5D6A-CD54-373D-D8B7823CA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936B2DC-E399-7FBF-410D-32D129B0020C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250825" y="1242798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A9B7D65-D020-BAB3-1057-E61827EB8E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050" y="1347788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05FFFFC-1492-9168-9023-9F724BE7C8E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250825" y="2087904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3346FD07-00A7-A04B-3609-6B0AF79A4E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8050" y="2189369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03884F03-317A-E551-81AB-1106084C9F2B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50825" y="2933010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334FB2D3-FE44-0868-E473-CD76EA9C42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8050" y="3030950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60D50FBD-9DD3-143E-A783-35D61861AB2E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250825" y="3778116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C42E7304-B776-7847-CB40-2E7828BB760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8050" y="3872531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E7853DF1-CCA4-C249-62FE-FD7009D77F69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4751389" y="1242798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CB25DB15-B18A-13AE-EBB6-DBCAE6F07B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408612" y="1350754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9F9FDCDE-460D-E634-3C7A-E26E81B33122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4751389" y="2087904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322D9C54-F8BC-91DE-3BF5-44396703327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8612" y="2189607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36C341E-9E6D-E02B-1F72-1CC74005301F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4751389" y="2933010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34" name="Textplatzhalter 16">
            <a:extLst>
              <a:ext uri="{FF2B5EF4-FFF2-40B4-BE49-F238E27FC236}">
                <a16:creationId xmlns:a16="http://schemas.microsoft.com/office/drawing/2014/main" id="{1958E537-B90C-CFD4-CC4B-DB6E0A2BD8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408612" y="3028460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F99B44E6-66FE-13DC-0255-8DBFF3CC6E22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>
            <a:off x="4765878" y="3778116"/>
            <a:ext cx="432000" cy="432000"/>
          </a:xfrm>
          <a:prstGeom prst="ellipse">
            <a:avLst/>
          </a:prstGeom>
          <a:noFill/>
          <a:ln w="63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36" name="Textplatzhalter 16">
            <a:extLst>
              <a:ext uri="{FF2B5EF4-FFF2-40B4-BE49-F238E27FC236}">
                <a16:creationId xmlns:a16="http://schemas.microsoft.com/office/drawing/2014/main" id="{BE9D5ED0-AB61-226F-B2B6-AB1F21E66C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8612" y="3867313"/>
            <a:ext cx="3484563" cy="792000"/>
          </a:xfrm>
        </p:spPr>
        <p:txBody>
          <a:bodyPr/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 sz="1200"/>
            </a:lvl2pPr>
            <a:lvl3pPr marL="677250" indent="0">
              <a:buNone/>
              <a:defRPr/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263A8D-0290-C7BD-C553-FDD05DCF6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259E22E-2FB1-4F4F-A133-0D7F006589D2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4737B9-AB1E-5753-4356-96F61573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F36A53-72DC-8C61-3E4B-0F6E4DB87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7845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  <p15:guide id="2" pos="299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DF5E4EF-EA3B-91EF-BB6F-117F5DC21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238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F5E4EF-EA3B-91EF-BB6F-117F5DC21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47CAB1D-5C36-0CF2-F6AD-F06F56FB1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1118990" y="1024661"/>
            <a:ext cx="1080000" cy="1080000"/>
          </a:xfrm>
          <a:prstGeom prst="ellipse">
            <a:avLst/>
          </a:prstGeom>
          <a:noFill/>
          <a:ln w="190500">
            <a:solidFill>
              <a:schemeClr val="accent1"/>
            </a:solidFill>
          </a:ln>
        </p:spPr>
        <p:txBody>
          <a:bodyPr anchor="ctr" anchorCtr="0"/>
          <a:lstStyle>
            <a:lvl1pPr marL="0" indent="0" algn="ctr" rtl="0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AT" dirty="0"/>
              <a:t>00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2A8E3A3-A233-7EA4-278C-71460F36C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203325"/>
            <a:ext cx="9144000" cy="3940175"/>
          </a:xfrm>
          <a:custGeom>
            <a:avLst/>
            <a:gdLst>
              <a:gd name="connsiteX0" fmla="*/ 0 w 9144000"/>
              <a:gd name="connsiteY0" fmla="*/ 0 h 3940175"/>
              <a:gd name="connsiteX1" fmla="*/ 833257 w 9144000"/>
              <a:gd name="connsiteY1" fmla="*/ 0 h 3940175"/>
              <a:gd name="connsiteX2" fmla="*/ 783716 w 9144000"/>
              <a:gd name="connsiteY2" fmla="*/ 163267 h 3940175"/>
              <a:gd name="connsiteX3" fmla="*/ 765431 w 9144000"/>
              <a:gd name="connsiteY3" fmla="*/ 348821 h 3940175"/>
              <a:gd name="connsiteX4" fmla="*/ 1665431 w 9144000"/>
              <a:gd name="connsiteY4" fmla="*/ 1269527 h 3940175"/>
              <a:gd name="connsiteX5" fmla="*/ 2565431 w 9144000"/>
              <a:gd name="connsiteY5" fmla="*/ 348821 h 3940175"/>
              <a:gd name="connsiteX6" fmla="*/ 2547146 w 9144000"/>
              <a:gd name="connsiteY6" fmla="*/ 163267 h 3940175"/>
              <a:gd name="connsiteX7" fmla="*/ 2497605 w 9144000"/>
              <a:gd name="connsiteY7" fmla="*/ 0 h 3940175"/>
              <a:gd name="connsiteX8" fmla="*/ 9144000 w 9144000"/>
              <a:gd name="connsiteY8" fmla="*/ 0 h 3940175"/>
              <a:gd name="connsiteX9" fmla="*/ 9144000 w 9144000"/>
              <a:gd name="connsiteY9" fmla="*/ 3940175 h 3940175"/>
              <a:gd name="connsiteX10" fmla="*/ 0 w 9144000"/>
              <a:gd name="connsiteY10" fmla="*/ 3940175 h 394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3940175">
                <a:moveTo>
                  <a:pt x="0" y="0"/>
                </a:moveTo>
                <a:lnTo>
                  <a:pt x="833257" y="0"/>
                </a:lnTo>
                <a:lnTo>
                  <a:pt x="783716" y="163267"/>
                </a:lnTo>
                <a:cubicBezTo>
                  <a:pt x="771727" y="223203"/>
                  <a:pt x="765431" y="285260"/>
                  <a:pt x="765431" y="348821"/>
                </a:cubicBezTo>
                <a:cubicBezTo>
                  <a:pt x="765431" y="857313"/>
                  <a:pt x="1168375" y="1269527"/>
                  <a:pt x="1665431" y="1269527"/>
                </a:cubicBezTo>
                <a:cubicBezTo>
                  <a:pt x="2162487" y="1269527"/>
                  <a:pt x="2565431" y="857313"/>
                  <a:pt x="2565431" y="348821"/>
                </a:cubicBezTo>
                <a:cubicBezTo>
                  <a:pt x="2565431" y="285260"/>
                  <a:pt x="2559135" y="223203"/>
                  <a:pt x="2547146" y="163267"/>
                </a:cubicBezTo>
                <a:lnTo>
                  <a:pt x="2497605" y="0"/>
                </a:lnTo>
                <a:lnTo>
                  <a:pt x="9144000" y="0"/>
                </a:lnTo>
                <a:lnTo>
                  <a:pt x="9144000" y="3940175"/>
                </a:lnTo>
                <a:lnTo>
                  <a:pt x="0" y="39401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de-AT" dirty="0"/>
              <a:t>Bild durch Klicken auf Symbol hinzufüg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8C956EBA-B9A5-8DBA-D871-5D1DC643F6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0" y="2112580"/>
            <a:ext cx="4321176" cy="1345323"/>
          </a:xfrm>
        </p:spPr>
        <p:txBody>
          <a:bodyPr vert="horz" anchor="b" anchorCtr="0"/>
          <a:lstStyle>
            <a:lvl1pPr rtl="0">
              <a:defRPr/>
            </a:lvl1pPr>
          </a:lstStyle>
          <a:p>
            <a:r>
              <a:rPr lang="de-AT" dirty="0"/>
              <a:t>Mastertitelformat bearbeiten</a:t>
            </a:r>
            <a:br>
              <a:rPr lang="de-AT" dirty="0"/>
            </a:br>
            <a:endParaRPr lang="de-AT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BF82FA67-300A-D400-3B1C-0ED54C2650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1998" y="3563008"/>
            <a:ext cx="4321177" cy="1096305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346219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B8717E9-9354-A1AA-F0E6-08D69D954A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7968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1" imgW="306" imgH="306" progId="TCLayout.ActiveDocument.1">
                  <p:embed/>
                </p:oleObj>
              </mc:Choice>
              <mc:Fallback>
                <p:oleObj name="think-cell Folie" r:id="rId51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8717E9-9354-A1AA-F0E6-08D69D954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31775"/>
            <a:ext cx="7742238" cy="1116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AT"/>
              <a:t>Mastertitelformat </a:t>
            </a:r>
            <a:br>
              <a:rPr lang="de-AT"/>
            </a:br>
            <a:r>
              <a:rPr lang="de-AT"/>
              <a:t>bearbeiten</a:t>
            </a:r>
            <a:endParaRPr lang="de-A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6" y="1347788"/>
            <a:ext cx="7742238" cy="3311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AT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B833E11-7612-F80C-1339-65C62DB9C7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0825" y="4793702"/>
            <a:ext cx="1427435" cy="1444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842B824B-4B47-4D5B-931C-E2EB1CA76FE8}" type="datetime1">
              <a:rPr lang="de-AT" smtClean="0"/>
              <a:t>14.10.2025</a:t>
            </a:fld>
            <a:endParaRPr lang="de-A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8260" y="4795798"/>
            <a:ext cx="5787480" cy="1444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AT"/>
              <a:t>Universität Graz – Lösungen für die Welt von morgen</a:t>
            </a:r>
            <a:endParaRPr lang="de-A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65740" y="4796041"/>
            <a:ext cx="1427435" cy="145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3B1ED72C-ABBB-4657-9DA3-1A3BE3BE017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3169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2" r:id="rId2"/>
    <p:sldLayoutId id="2147483703" r:id="rId3"/>
    <p:sldLayoutId id="2147483661" r:id="rId4"/>
    <p:sldLayoutId id="2147483689" r:id="rId5"/>
    <p:sldLayoutId id="2147483683" r:id="rId6"/>
    <p:sldLayoutId id="2147483690" r:id="rId7"/>
    <p:sldLayoutId id="2147483697" r:id="rId8"/>
    <p:sldLayoutId id="2147483699" r:id="rId9"/>
    <p:sldLayoutId id="2147483701" r:id="rId10"/>
    <p:sldLayoutId id="2147483698" r:id="rId11"/>
    <p:sldLayoutId id="2147483702" r:id="rId12"/>
    <p:sldLayoutId id="2147483673" r:id="rId13"/>
    <p:sldLayoutId id="2147483675" r:id="rId14"/>
    <p:sldLayoutId id="2147483676" r:id="rId15"/>
    <p:sldLayoutId id="2147483666" r:id="rId16"/>
    <p:sldLayoutId id="2147483688" r:id="rId17"/>
    <p:sldLayoutId id="2147483674" r:id="rId18"/>
    <p:sldLayoutId id="2147483695" r:id="rId19"/>
    <p:sldLayoutId id="2147483696" r:id="rId20"/>
    <p:sldLayoutId id="2147483704" r:id="rId21"/>
    <p:sldLayoutId id="2147483687" r:id="rId22"/>
    <p:sldLayoutId id="2147483685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686" r:id="rId30"/>
    <p:sldLayoutId id="2147483681" r:id="rId31"/>
    <p:sldLayoutId id="2147483677" r:id="rId32"/>
    <p:sldLayoutId id="2147483682" r:id="rId33"/>
    <p:sldLayoutId id="2147483678" r:id="rId34"/>
    <p:sldLayoutId id="2147483680" r:id="rId35"/>
    <p:sldLayoutId id="2147483664" r:id="rId36"/>
    <p:sldLayoutId id="2147483693" r:id="rId37"/>
    <p:sldLayoutId id="2147483714" r:id="rId38"/>
    <p:sldLayoutId id="2147483715" r:id="rId39"/>
    <p:sldLayoutId id="2147483716" r:id="rId40"/>
    <p:sldLayoutId id="2147483717" r:id="rId41"/>
    <p:sldLayoutId id="2147483718" r:id="rId42"/>
    <p:sldLayoutId id="2147483713" r:id="rId43"/>
    <p:sldLayoutId id="2147483694" r:id="rId44"/>
    <p:sldLayoutId id="2147483679" r:id="rId45"/>
    <p:sldLayoutId id="2147483692" r:id="rId46"/>
    <p:sldLayoutId id="2147483691" r:id="rId47"/>
    <p:sldLayoutId id="2147483684" r:id="rId4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4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16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58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orient="horz" pos="146" userDrawn="1">
          <p15:clr>
            <a:srgbClr val="F26B43"/>
          </p15:clr>
        </p15:guide>
        <p15:guide id="6" orient="horz" pos="3094" userDrawn="1">
          <p15:clr>
            <a:srgbClr val="F26B43"/>
          </p15:clr>
        </p15:guide>
        <p15:guide id="7" orient="horz" pos="2935" userDrawn="1">
          <p15:clr>
            <a:srgbClr val="F26B43"/>
          </p15:clr>
        </p15:guide>
        <p15:guide id="8" pos="5035" userDrawn="1">
          <p15:clr>
            <a:srgbClr val="F26B43"/>
          </p15:clr>
        </p15:guide>
        <p15:guide id="9" orient="horz" pos="8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0.xml"/><Relationship Id="rId6" Type="http://schemas.openxmlformats.org/officeDocument/2006/relationships/image" Target="../media/image3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1.xml"/><Relationship Id="rId7" Type="http://schemas.openxmlformats.org/officeDocument/2006/relationships/slide" Target="slide1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1.xml"/><Relationship Id="rId6" Type="http://schemas.openxmlformats.org/officeDocument/2006/relationships/image" Target="../media/image35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Relationship Id="rId9" Type="http://schemas.openxmlformats.org/officeDocument/2006/relationships/image" Target="../media/image11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42.png"/><Relationship Id="rId18" Type="http://schemas.openxmlformats.org/officeDocument/2006/relationships/image" Target="../media/image46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7.svg"/><Relationship Id="rId12" Type="http://schemas.openxmlformats.org/officeDocument/2006/relationships/image" Target="../media/image41.svg"/><Relationship Id="rId17" Type="http://schemas.openxmlformats.org/officeDocument/2006/relationships/image" Target="../media/image45.png"/><Relationship Id="rId2" Type="http://schemas.openxmlformats.org/officeDocument/2006/relationships/slideLayout" Target="../slideLayouts/slideLayout24.xml"/><Relationship Id="rId16" Type="http://schemas.openxmlformats.org/officeDocument/2006/relationships/slide" Target="slide11.xml"/><Relationship Id="rId1" Type="http://schemas.openxmlformats.org/officeDocument/2006/relationships/tags" Target="../tags/tag62.xml"/><Relationship Id="rId6" Type="http://schemas.openxmlformats.org/officeDocument/2006/relationships/image" Target="../media/image36.png"/><Relationship Id="rId11" Type="http://schemas.openxmlformats.org/officeDocument/2006/relationships/image" Target="../media/image40.png"/><Relationship Id="rId5" Type="http://schemas.openxmlformats.org/officeDocument/2006/relationships/image" Target="../media/image1.emf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61.bin"/><Relationship Id="rId9" Type="http://schemas.openxmlformats.org/officeDocument/2006/relationships/image" Target="../media/image38.jpeg"/><Relationship Id="rId14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uni-graz.at" TargetMode="External"/><Relationship Id="rId13" Type="http://schemas.openxmlformats.org/officeDocument/2006/relationships/hyperlink" Target="https://www.linkedin.com/school/university-of-graz/" TargetMode="External"/><Relationship Id="rId18" Type="http://schemas.openxmlformats.org/officeDocument/2006/relationships/image" Target="../media/image55.sv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57.svg"/><Relationship Id="rId7" Type="http://schemas.openxmlformats.org/officeDocument/2006/relationships/image" Target="../media/image49.png"/><Relationship Id="rId12" Type="http://schemas.openxmlformats.org/officeDocument/2006/relationships/image" Target="../media/image51.png"/><Relationship Id="rId17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6" Type="http://schemas.openxmlformats.org/officeDocument/2006/relationships/hyperlink" Target="https://www.youtube.com/unigraz" TargetMode="External"/><Relationship Id="rId20" Type="http://schemas.openxmlformats.org/officeDocument/2006/relationships/image" Target="../media/image56.png"/><Relationship Id="rId1" Type="http://schemas.openxmlformats.org/officeDocument/2006/relationships/tags" Target="../tags/tag64.xml"/><Relationship Id="rId6" Type="http://schemas.openxmlformats.org/officeDocument/2006/relationships/image" Target="../media/image48.jpeg"/><Relationship Id="rId11" Type="http://schemas.openxmlformats.org/officeDocument/2006/relationships/hyperlink" Target="https://bsky.app/profile/uni-graz.at" TargetMode="External"/><Relationship Id="rId24" Type="http://schemas.openxmlformats.org/officeDocument/2006/relationships/image" Target="../media/image59.svg"/><Relationship Id="rId5" Type="http://schemas.openxmlformats.org/officeDocument/2006/relationships/image" Target="../media/image1.emf"/><Relationship Id="rId15" Type="http://schemas.openxmlformats.org/officeDocument/2006/relationships/image" Target="../media/image53.svg"/><Relationship Id="rId23" Type="http://schemas.openxmlformats.org/officeDocument/2006/relationships/image" Target="../media/image58.png"/><Relationship Id="rId10" Type="http://schemas.openxmlformats.org/officeDocument/2006/relationships/image" Target="../media/image50.png"/><Relationship Id="rId19" Type="http://schemas.openxmlformats.org/officeDocument/2006/relationships/hyperlink" Target="https://www.instagram.com/universityofgraz/" TargetMode="External"/><Relationship Id="rId4" Type="http://schemas.openxmlformats.org/officeDocument/2006/relationships/oleObject" Target="../embeddings/oleObject63.bin"/><Relationship Id="rId9" Type="http://schemas.openxmlformats.org/officeDocument/2006/relationships/hyperlink" Target="https://www.kununu.com/at/karl-franzens-universitaet-graz4" TargetMode="External"/><Relationship Id="rId14" Type="http://schemas.openxmlformats.org/officeDocument/2006/relationships/image" Target="../media/image52.png"/><Relationship Id="rId22" Type="http://schemas.openxmlformats.org/officeDocument/2006/relationships/hyperlink" Target="https://www.facebook.com/UniversitaetGraz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slide" Target="slide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2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51.bin"/><Relationship Id="rId9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53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4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53.bin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5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6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7.xml"/><Relationship Id="rId7" Type="http://schemas.openxmlformats.org/officeDocument/2006/relationships/hyperlink" Target="https://unitube.uni-graz.at/portal/aufzeichnungen.html?id=01ae5ca5-702f-4476-ae34-2f688eb5e2f5" TargetMode="Externa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7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6.bin"/><Relationship Id="rId9" Type="http://schemas.openxmlformats.org/officeDocument/2006/relationships/image" Target="../media/image1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notesSlide" Target="../notesSlides/notesSlide8.xml"/><Relationship Id="rId21" Type="http://schemas.openxmlformats.org/officeDocument/2006/relationships/slide" Target="slide11.xml"/><Relationship Id="rId7" Type="http://schemas.openxmlformats.org/officeDocument/2006/relationships/image" Target="../media/image2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0.svg"/><Relationship Id="rId20" Type="http://schemas.openxmlformats.org/officeDocument/2006/relationships/slide" Target="slide10.xml"/><Relationship Id="rId1" Type="http://schemas.openxmlformats.org/officeDocument/2006/relationships/tags" Target="../tags/tag58.xml"/><Relationship Id="rId6" Type="http://schemas.openxmlformats.org/officeDocument/2006/relationships/image" Target="../media/image21.jpeg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19" Type="http://schemas.openxmlformats.org/officeDocument/2006/relationships/slide" Target="slide9.xml"/><Relationship Id="rId4" Type="http://schemas.openxmlformats.org/officeDocument/2006/relationships/oleObject" Target="../embeddings/oleObject57.bin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9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A80F0E-E47C-DB81-9577-160DF30ECF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73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A80F0E-E47C-DB81-9577-160DF30EC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Bild mit StudentInnen und ProfessorInnen vor der Universität Graz">
            <a:extLst>
              <a:ext uri="{FF2B5EF4-FFF2-40B4-BE49-F238E27FC236}">
                <a16:creationId xmlns:a16="http://schemas.microsoft.com/office/drawing/2014/main" id="{E5CC6174-72DA-238D-9194-DDB006BE12B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74258C0-2E29-5338-EBBF-9204AEF7A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AT" noProof="0" dirty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314F1A1E-E2DE-B90B-E525-F9F1ECEAE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1116000"/>
          <a:lstStyle/>
          <a:p>
            <a:r>
              <a:rPr lang="de-AT" noProof="0" dirty="0"/>
              <a:t>Lösungen für die</a:t>
            </a:r>
            <a:br>
              <a:rPr lang="de-AT" noProof="0" dirty="0"/>
            </a:br>
            <a:r>
              <a:rPr lang="de-AT" noProof="0" dirty="0"/>
              <a:t>Welt von morgen</a:t>
            </a:r>
          </a:p>
        </p:txBody>
      </p:sp>
      <p:pic>
        <p:nvPicPr>
          <p:cNvPr id="9" name="Bildplatzhalter 8" descr="Ein Bild, das Text, Screenshot, Grafiken, Rechteck enthält.&#10;&#10;Automatisch generierte Beschreibung">
            <a:extLst>
              <a:ext uri="{FF2B5EF4-FFF2-40B4-BE49-F238E27FC236}">
                <a16:creationId xmlns:a16="http://schemas.microsoft.com/office/drawing/2014/main" id="{73F09142-BBDE-337F-A6CF-0FF26D3ED90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0313" y="0"/>
            <a:ext cx="4103687" cy="1347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26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DE0AB7-7A43-4BC7-54C9-6D16694030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070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E0AB7-7A43-4BC7-54C9-6D1669403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EA17D4B1-17A5-7AB7-0797-261249F125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63" t="6716" b="8959"/>
          <a:stretch>
            <a:fillRect/>
          </a:stretch>
        </p:blipFill>
        <p:spPr>
          <a:xfrm flipH="1">
            <a:off x="2200275" y="1"/>
            <a:ext cx="6943725" cy="51435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297090B8-0D17-8335-E1C1-0748F0A202C5}"/>
              </a:ext>
            </a:extLst>
          </p:cNvPr>
          <p:cNvSpPr/>
          <p:nvPr/>
        </p:nvSpPr>
        <p:spPr>
          <a:xfrm>
            <a:off x="-1" y="1"/>
            <a:ext cx="9144001" cy="1989734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67F7A5D-0EB9-00AF-A3D0-D3A0E5AF7C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FE59D81-87C3-2118-8943-D1BB377F9CD6}"/>
              </a:ext>
            </a:extLst>
          </p:cNvPr>
          <p:cNvSpPr/>
          <p:nvPr/>
        </p:nvSpPr>
        <p:spPr>
          <a:xfrm rot="16200000">
            <a:off x="613801" y="1576882"/>
            <a:ext cx="5143501" cy="1989734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3C7EC81-438B-459C-E803-80233B2DD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Wir tragen Wissen </a:t>
            </a:r>
            <a:br>
              <a:rPr lang="de-AT" noProof="0" dirty="0"/>
            </a:br>
            <a:r>
              <a:rPr lang="de-AT" noProof="0" dirty="0"/>
              <a:t>in die Gesellschaf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D130E2-8B43-BA8F-FC1D-3C03DBD498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4151" y="1513217"/>
            <a:ext cx="4949824" cy="2462213"/>
          </a:xfrm>
        </p:spPr>
        <p:txBody>
          <a:bodyPr>
            <a:spAutoFit/>
          </a:bodyPr>
          <a:lstStyle/>
          <a:p>
            <a:pPr>
              <a:spcAft>
                <a:spcPts val="1200"/>
              </a:spcAft>
            </a:pPr>
            <a:r>
              <a:rPr lang="de-AT" sz="2000" noProof="0" dirty="0"/>
              <a:t>Erweiterungsstudium Leadership</a:t>
            </a:r>
          </a:p>
          <a:p>
            <a:pPr>
              <a:spcAft>
                <a:spcPts val="1200"/>
              </a:spcAft>
            </a:pPr>
            <a:r>
              <a:rPr lang="de-AT" sz="2000" noProof="0" dirty="0"/>
              <a:t>Micro-</a:t>
            </a:r>
            <a:r>
              <a:rPr lang="de-AT" sz="2000" noProof="0" dirty="0" err="1"/>
              <a:t>Credentials</a:t>
            </a:r>
            <a:endParaRPr lang="de-AT" sz="2000" noProof="0" dirty="0"/>
          </a:p>
          <a:p>
            <a:pPr>
              <a:spcAft>
                <a:spcPts val="1200"/>
              </a:spcAft>
            </a:pPr>
            <a:r>
              <a:rPr lang="de-AT" sz="2000" noProof="0" dirty="0"/>
              <a:t>First-Generation-</a:t>
            </a:r>
            <a:r>
              <a:rPr lang="de-AT" sz="2000" noProof="0" dirty="0" err="1"/>
              <a:t>Students</a:t>
            </a:r>
            <a:r>
              <a:rPr lang="de-AT" sz="2000" noProof="0" dirty="0"/>
              <a:t>-Support</a:t>
            </a:r>
          </a:p>
          <a:p>
            <a:pPr>
              <a:spcAft>
                <a:spcPts val="1200"/>
              </a:spcAft>
            </a:pPr>
            <a:r>
              <a:rPr lang="de-AT" sz="2000" noProof="0" dirty="0"/>
              <a:t>Kooperation mit Schulen</a:t>
            </a:r>
          </a:p>
          <a:p>
            <a:pPr>
              <a:spcAft>
                <a:spcPts val="1200"/>
              </a:spcAft>
            </a:pPr>
            <a:r>
              <a:rPr lang="de-AT" sz="2000" dirty="0"/>
              <a:t>Wissenschaftskommunikation</a:t>
            </a:r>
            <a:br>
              <a:rPr lang="de-AT" sz="2000" dirty="0"/>
            </a:br>
            <a:r>
              <a:rPr lang="de-AT" sz="2000" dirty="0"/>
              <a:t>7. </a:t>
            </a:r>
            <a:r>
              <a:rPr lang="de-AT" sz="2000" dirty="0" err="1"/>
              <a:t>fakultät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1238669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49CC0-6384-5FD6-7F0D-7A8236B0AF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75EF6F-2131-91FA-12F4-C9B5EEB34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111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75EF6F-2131-91FA-12F4-C9B5EEB34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FD2AD79-12FB-ECE7-2EEA-E72354873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1" y="231775"/>
            <a:ext cx="3403600" cy="1116013"/>
          </a:xfrm>
        </p:spPr>
        <p:txBody>
          <a:bodyPr vert="horz"/>
          <a:lstStyle/>
          <a:p>
            <a:r>
              <a:rPr lang="de-AT" noProof="0" dirty="0"/>
              <a:t>Deine Reise </a:t>
            </a:r>
            <a:br>
              <a:rPr lang="de-AT" noProof="0" dirty="0"/>
            </a:br>
            <a:r>
              <a:rPr lang="de-AT" noProof="0" dirty="0"/>
              <a:t>beginnt jetz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9F42C9-0BE7-373D-9A5A-3D4CC980D6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7200" y="1347788"/>
            <a:ext cx="4445000" cy="3311525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de-AT" sz="2000" noProof="0" dirty="0"/>
              <a:t>Über 120 Studien </a:t>
            </a:r>
          </a:p>
          <a:p>
            <a:pPr>
              <a:spcAft>
                <a:spcPts val="1200"/>
              </a:spcAft>
            </a:pPr>
            <a:r>
              <a:rPr lang="de-AT" sz="2000" noProof="0" dirty="0"/>
              <a:t>Europaweites Netzwerk</a:t>
            </a:r>
          </a:p>
          <a:p>
            <a:pPr>
              <a:spcAft>
                <a:spcPts val="1200"/>
              </a:spcAft>
            </a:pPr>
            <a:r>
              <a:rPr lang="de-AT" sz="2000" noProof="0" dirty="0" err="1"/>
              <a:t>Arqus</a:t>
            </a:r>
            <a:r>
              <a:rPr lang="de-AT" sz="2000" noProof="0" dirty="0"/>
              <a:t> Alliance</a:t>
            </a:r>
          </a:p>
          <a:p>
            <a:pPr>
              <a:spcAft>
                <a:spcPts val="1200"/>
              </a:spcAft>
            </a:pPr>
            <a:r>
              <a:rPr lang="de-AT" sz="2000" noProof="0" dirty="0"/>
              <a:t>Masterstudium Plus: </a:t>
            </a:r>
            <a:br>
              <a:rPr lang="de-AT" sz="2000" noProof="0" dirty="0"/>
            </a:br>
            <a:r>
              <a:rPr lang="de-AT" sz="2000" noProof="0" dirty="0"/>
              <a:t>Studierende gestalten </a:t>
            </a:r>
            <a:r>
              <a:rPr lang="de-AT" sz="2000" noProof="0" dirty="0" err="1"/>
              <a:t>Peacebuilding</a:t>
            </a:r>
            <a:r>
              <a:rPr lang="de-AT" sz="2000" noProof="0" dirty="0"/>
              <a:t>, KI und Klimapolitik</a:t>
            </a:r>
          </a:p>
          <a:p>
            <a:pPr>
              <a:spcAft>
                <a:spcPts val="1200"/>
              </a:spcAft>
            </a:pPr>
            <a:r>
              <a:rPr lang="de-AT" sz="2000" noProof="0" dirty="0"/>
              <a:t>Lehre und Forschung für eine </a:t>
            </a:r>
            <a:br>
              <a:rPr lang="de-AT" sz="2000" noProof="0" dirty="0"/>
            </a:br>
            <a:r>
              <a:rPr lang="de-AT" sz="2000" noProof="0" dirty="0"/>
              <a:t>offene, gerechte Zukunft</a:t>
            </a:r>
          </a:p>
          <a:p>
            <a:endParaRPr lang="de-AT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FF12D90-49D1-2EE2-AA94-DA126BE1FFD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31" t="8066" r="29894" b="8270"/>
          <a:stretch>
            <a:fillRect/>
          </a:stretch>
        </p:blipFill>
        <p:spPr>
          <a:xfrm>
            <a:off x="-1" y="1116"/>
            <a:ext cx="3860801" cy="5142384"/>
          </a:xfrm>
          <a:prstGeom prst="rect">
            <a:avLst/>
          </a:prstGeom>
        </p:spPr>
      </p:pic>
      <p:pic>
        <p:nvPicPr>
          <p:cNvPr id="12" name="Grafik 11">
            <a:hlinkClick r:id="rId7" action="ppaction://hlinksldjump"/>
            <a:extLst>
              <a:ext uri="{FF2B5EF4-FFF2-40B4-BE49-F238E27FC236}">
                <a16:creationId xmlns:a16="http://schemas.microsoft.com/office/drawing/2014/main" id="{BB9D7C43-B021-C9E0-7BED-79A1557501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9132" y="2245077"/>
            <a:ext cx="326673" cy="32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9767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5" name="think-cell data - do not delete" hidden="1">
            <a:extLst>
              <a:ext uri="{FF2B5EF4-FFF2-40B4-BE49-F238E27FC236}">
                <a16:creationId xmlns:a16="http://schemas.microsoft.com/office/drawing/2014/main" id="{DBBA0AC3-6BB6-1C2B-7657-C4B2363722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A0AC3-6BB6-1C2B-7657-C4B236372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55AA5B-295C-4AD0-3D81-9DE463C22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489825" cy="1116013"/>
          </a:xfrm>
        </p:spPr>
        <p:txBody>
          <a:bodyPr vert="horz"/>
          <a:lstStyle/>
          <a:p>
            <a:r>
              <a:rPr lang="de-AT" noProof="0" dirty="0"/>
              <a:t>Universität ohne Grenz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D0DB267-510B-2FCA-4720-6E122B477F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34670" b="16472"/>
          <a:stretch>
            <a:fillRect/>
          </a:stretch>
        </p:blipFill>
        <p:spPr>
          <a:xfrm>
            <a:off x="3805129" y="-419101"/>
            <a:ext cx="5351571" cy="5599304"/>
          </a:xfrm>
          <a:custGeom>
            <a:avLst/>
            <a:gdLst>
              <a:gd name="connsiteX0" fmla="*/ 0 w 5351571"/>
              <a:gd name="connsiteY0" fmla="*/ 0 h 5599304"/>
              <a:gd name="connsiteX1" fmla="*/ 2084681 w 5351571"/>
              <a:gd name="connsiteY1" fmla="*/ 0 h 5599304"/>
              <a:gd name="connsiteX2" fmla="*/ 2084681 w 5351571"/>
              <a:gd name="connsiteY2" fmla="*/ 423531 h 5599304"/>
              <a:gd name="connsiteX3" fmla="*/ 5351571 w 5351571"/>
              <a:gd name="connsiteY3" fmla="*/ 423531 h 5599304"/>
              <a:gd name="connsiteX4" fmla="*/ 5351571 w 5351571"/>
              <a:gd name="connsiteY4" fmla="*/ 5599304 h 5599304"/>
              <a:gd name="connsiteX5" fmla="*/ 0 w 5351571"/>
              <a:gd name="connsiteY5" fmla="*/ 5599304 h 5599304"/>
              <a:gd name="connsiteX6" fmla="*/ 0 w 5351571"/>
              <a:gd name="connsiteY6" fmla="*/ 0 h 5599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51571" h="5599304">
                <a:moveTo>
                  <a:pt x="0" y="0"/>
                </a:moveTo>
                <a:lnTo>
                  <a:pt x="2084681" y="0"/>
                </a:lnTo>
                <a:lnTo>
                  <a:pt x="2084681" y="423531"/>
                </a:lnTo>
                <a:lnTo>
                  <a:pt x="5351571" y="423531"/>
                </a:lnTo>
                <a:lnTo>
                  <a:pt x="5351571" y="5599304"/>
                </a:lnTo>
                <a:lnTo>
                  <a:pt x="0" y="559930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7E4608D-429E-8A07-33DE-C105F0C358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22345" t="83528" r="4171" b="-12064"/>
          <a:stretch>
            <a:fillRect/>
          </a:stretch>
        </p:blipFill>
        <p:spPr>
          <a:xfrm>
            <a:off x="1993901" y="5121639"/>
            <a:ext cx="9578974" cy="1892873"/>
          </a:xfrm>
          <a:custGeom>
            <a:avLst/>
            <a:gdLst>
              <a:gd name="connsiteX0" fmla="*/ 0 w 9578974"/>
              <a:gd name="connsiteY0" fmla="*/ 0 h 1892873"/>
              <a:gd name="connsiteX1" fmla="*/ 1811229 w 9578974"/>
              <a:gd name="connsiteY1" fmla="*/ 0 h 1892873"/>
              <a:gd name="connsiteX2" fmla="*/ 1811229 w 9578974"/>
              <a:gd name="connsiteY2" fmla="*/ 1092631 h 1892873"/>
              <a:gd name="connsiteX3" fmla="*/ 9359899 w 9578974"/>
              <a:gd name="connsiteY3" fmla="*/ 1092631 h 1892873"/>
              <a:gd name="connsiteX4" fmla="*/ 9359899 w 9578974"/>
              <a:gd name="connsiteY4" fmla="*/ 0 h 1892873"/>
              <a:gd name="connsiteX5" fmla="*/ 9578974 w 9578974"/>
              <a:gd name="connsiteY5" fmla="*/ 0 h 1892873"/>
              <a:gd name="connsiteX6" fmla="*/ 9578974 w 9578974"/>
              <a:gd name="connsiteY6" fmla="*/ 1892873 h 1892873"/>
              <a:gd name="connsiteX7" fmla="*/ 0 w 9578974"/>
              <a:gd name="connsiteY7" fmla="*/ 1892873 h 1892873"/>
              <a:gd name="connsiteX8" fmla="*/ 0 w 9578974"/>
              <a:gd name="connsiteY8" fmla="*/ 0 h 1892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578974" h="1892873">
                <a:moveTo>
                  <a:pt x="0" y="0"/>
                </a:moveTo>
                <a:lnTo>
                  <a:pt x="1811229" y="0"/>
                </a:lnTo>
                <a:lnTo>
                  <a:pt x="1811229" y="1092631"/>
                </a:lnTo>
                <a:lnTo>
                  <a:pt x="9359899" y="1092631"/>
                </a:lnTo>
                <a:lnTo>
                  <a:pt x="9359899" y="0"/>
                </a:lnTo>
                <a:lnTo>
                  <a:pt x="9578974" y="0"/>
                </a:lnTo>
                <a:lnTo>
                  <a:pt x="9578974" y="1892873"/>
                </a:lnTo>
                <a:lnTo>
                  <a:pt x="0" y="1892873"/>
                </a:lnTo>
                <a:lnTo>
                  <a:pt x="0" y="0"/>
                </a:lnTo>
                <a:close/>
              </a:path>
            </a:pathLst>
          </a:cu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3C44326-FF94-14C1-B67C-3E6582A1BCDA}"/>
              </a:ext>
            </a:extLst>
          </p:cNvPr>
          <p:cNvGrpSpPr/>
          <p:nvPr/>
        </p:nvGrpSpPr>
        <p:grpSpPr>
          <a:xfrm>
            <a:off x="4341990" y="1364072"/>
            <a:ext cx="3504479" cy="2954792"/>
            <a:chOff x="4341990" y="1364072"/>
            <a:chExt cx="3504479" cy="2954792"/>
          </a:xfrm>
        </p:grpSpPr>
        <p:grpSp>
          <p:nvGrpSpPr>
            <p:cNvPr id="352" name="Gruppieren 351">
              <a:extLst>
                <a:ext uri="{FF2B5EF4-FFF2-40B4-BE49-F238E27FC236}">
                  <a16:creationId xmlns:a16="http://schemas.microsoft.com/office/drawing/2014/main" id="{393C43DA-D619-74F0-3F98-9E270A5E7746}"/>
                </a:ext>
              </a:extLst>
            </p:cNvPr>
            <p:cNvGrpSpPr/>
            <p:nvPr/>
          </p:nvGrpSpPr>
          <p:grpSpPr>
            <a:xfrm>
              <a:off x="5006528" y="3615732"/>
              <a:ext cx="284579" cy="284578"/>
              <a:chOff x="1328738" y="1681163"/>
              <a:chExt cx="360000" cy="360000"/>
            </a:xfrm>
          </p:grpSpPr>
          <p:sp>
            <p:nvSpPr>
              <p:cNvPr id="349" name="Ellipse 348">
                <a:extLst>
                  <a:ext uri="{FF2B5EF4-FFF2-40B4-BE49-F238E27FC236}">
                    <a16:creationId xmlns:a16="http://schemas.microsoft.com/office/drawing/2014/main" id="{CF374063-2B1D-BF5A-9E32-3D4A35F48FC7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50" name="Ellipse 349">
                <a:extLst>
                  <a:ext uri="{FF2B5EF4-FFF2-40B4-BE49-F238E27FC236}">
                    <a16:creationId xmlns:a16="http://schemas.microsoft.com/office/drawing/2014/main" id="{6602D39D-34D7-CE28-809E-D2F66C9080A4}"/>
                  </a:ext>
                </a:extLst>
              </p:cNvPr>
              <p:cNvSpPr/>
              <p:nvPr/>
            </p:nvSpPr>
            <p:spPr>
              <a:xfrm>
                <a:off x="1382738" y="1735171"/>
                <a:ext cx="252000" cy="2520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51" name="Ellipse 350">
                <a:extLst>
                  <a:ext uri="{FF2B5EF4-FFF2-40B4-BE49-F238E27FC236}">
                    <a16:creationId xmlns:a16="http://schemas.microsoft.com/office/drawing/2014/main" id="{32048C29-70EB-1D6D-DD7E-A236E449F164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A33854C6-2C4F-245A-9FA2-CFDCE6B06BF2}"/>
                </a:ext>
              </a:extLst>
            </p:cNvPr>
            <p:cNvSpPr txBox="1"/>
            <p:nvPr/>
          </p:nvSpPr>
          <p:spPr>
            <a:xfrm>
              <a:off x="4840318" y="3949532"/>
              <a:ext cx="61074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>
                  <a:latin typeface="+mj-lt"/>
                </a:rPr>
                <a:t>Granada</a:t>
              </a:r>
              <a:br>
                <a:rPr lang="de-AT" sz="1200" noProof="0" dirty="0"/>
              </a:br>
              <a:r>
                <a:rPr lang="de-AT" sz="1200" noProof="0" dirty="0"/>
                <a:t>Spanien</a:t>
              </a:r>
            </a:p>
          </p:txBody>
        </p:sp>
        <p:grpSp>
          <p:nvGrpSpPr>
            <p:cNvPr id="354" name="Gruppieren 353">
              <a:extLst>
                <a:ext uri="{FF2B5EF4-FFF2-40B4-BE49-F238E27FC236}">
                  <a16:creationId xmlns:a16="http://schemas.microsoft.com/office/drawing/2014/main" id="{95B40FDB-5DFB-C3C0-8BA0-972D4C77EA5D}"/>
                </a:ext>
              </a:extLst>
            </p:cNvPr>
            <p:cNvGrpSpPr/>
            <p:nvPr/>
          </p:nvGrpSpPr>
          <p:grpSpPr>
            <a:xfrm>
              <a:off x="6552761" y="2648394"/>
              <a:ext cx="284579" cy="284579"/>
              <a:chOff x="1328738" y="1681163"/>
              <a:chExt cx="360000" cy="360000"/>
            </a:xfrm>
          </p:grpSpPr>
          <p:sp>
            <p:nvSpPr>
              <p:cNvPr id="355" name="Ellipse 354">
                <a:extLst>
                  <a:ext uri="{FF2B5EF4-FFF2-40B4-BE49-F238E27FC236}">
                    <a16:creationId xmlns:a16="http://schemas.microsoft.com/office/drawing/2014/main" id="{5A6D6D6A-D592-9082-DA5F-A006DA80423C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56" name="Ellipse 355">
                <a:extLst>
                  <a:ext uri="{FF2B5EF4-FFF2-40B4-BE49-F238E27FC236}">
                    <a16:creationId xmlns:a16="http://schemas.microsoft.com/office/drawing/2014/main" id="{59E146EA-3461-935E-484B-11E3235CCB45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57" name="Ellipse 356">
                <a:extLst>
                  <a:ext uri="{FF2B5EF4-FFF2-40B4-BE49-F238E27FC236}">
                    <a16:creationId xmlns:a16="http://schemas.microsoft.com/office/drawing/2014/main" id="{3F9C4F5F-4409-7FE7-9C7D-AEC6091A795A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58" name="Textfeld 357">
              <a:extLst>
                <a:ext uri="{FF2B5EF4-FFF2-40B4-BE49-F238E27FC236}">
                  <a16:creationId xmlns:a16="http://schemas.microsoft.com/office/drawing/2014/main" id="{56C2E7A4-8056-E269-A39A-CC3AB55DCAC7}"/>
                </a:ext>
              </a:extLst>
            </p:cNvPr>
            <p:cNvSpPr txBox="1"/>
            <p:nvPr/>
          </p:nvSpPr>
          <p:spPr>
            <a:xfrm>
              <a:off x="6912791" y="2700608"/>
              <a:ext cx="70051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AT" sz="1200" noProof="0" dirty="0">
                  <a:latin typeface="+mj-lt"/>
                </a:rPr>
                <a:t>Graz</a:t>
              </a:r>
              <a:br>
                <a:rPr lang="de-AT" sz="1200" noProof="0" dirty="0"/>
              </a:br>
              <a:r>
                <a:rPr lang="de-AT" sz="1200" noProof="0" dirty="0"/>
                <a:t>Österreich</a:t>
              </a:r>
            </a:p>
          </p:txBody>
        </p:sp>
        <p:grpSp>
          <p:nvGrpSpPr>
            <p:cNvPr id="359" name="Gruppieren 358">
              <a:extLst>
                <a:ext uri="{FF2B5EF4-FFF2-40B4-BE49-F238E27FC236}">
                  <a16:creationId xmlns:a16="http://schemas.microsoft.com/office/drawing/2014/main" id="{9FB183B3-C942-2D5B-758F-CA9F003EEF05}"/>
                </a:ext>
              </a:extLst>
            </p:cNvPr>
            <p:cNvGrpSpPr/>
            <p:nvPr/>
          </p:nvGrpSpPr>
          <p:grpSpPr>
            <a:xfrm>
              <a:off x="6454489" y="2074699"/>
              <a:ext cx="284579" cy="284579"/>
              <a:chOff x="1328738" y="1681163"/>
              <a:chExt cx="360000" cy="360000"/>
            </a:xfrm>
          </p:grpSpPr>
          <p:sp>
            <p:nvSpPr>
              <p:cNvPr id="360" name="Ellipse 359">
                <a:extLst>
                  <a:ext uri="{FF2B5EF4-FFF2-40B4-BE49-F238E27FC236}">
                    <a16:creationId xmlns:a16="http://schemas.microsoft.com/office/drawing/2014/main" id="{4B293683-B385-539E-6ED0-611E18947897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61" name="Ellipse 360">
                <a:extLst>
                  <a:ext uri="{FF2B5EF4-FFF2-40B4-BE49-F238E27FC236}">
                    <a16:creationId xmlns:a16="http://schemas.microsoft.com/office/drawing/2014/main" id="{DE660087-6F62-469F-3AEE-4718A3FF0ABB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62" name="Ellipse 361">
                <a:extLst>
                  <a:ext uri="{FF2B5EF4-FFF2-40B4-BE49-F238E27FC236}">
                    <a16:creationId xmlns:a16="http://schemas.microsoft.com/office/drawing/2014/main" id="{8DABD493-B5FD-6C42-A013-4C22BD4A9FEA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63" name="Textfeld 362">
              <a:extLst>
                <a:ext uri="{FF2B5EF4-FFF2-40B4-BE49-F238E27FC236}">
                  <a16:creationId xmlns:a16="http://schemas.microsoft.com/office/drawing/2014/main" id="{4633FFBB-1B72-45AF-615D-09BE7578351F}"/>
                </a:ext>
              </a:extLst>
            </p:cNvPr>
            <p:cNvSpPr txBox="1"/>
            <p:nvPr/>
          </p:nvSpPr>
          <p:spPr>
            <a:xfrm>
              <a:off x="6170654" y="1663972"/>
              <a:ext cx="849592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>
                  <a:latin typeface="+mj-lt"/>
                </a:rPr>
                <a:t>Leipzig</a:t>
              </a:r>
              <a:br>
                <a:rPr lang="de-AT" sz="1200" noProof="0" dirty="0"/>
              </a:br>
              <a:r>
                <a:rPr lang="de-AT" sz="1200" noProof="0" dirty="0"/>
                <a:t>Deutschland</a:t>
              </a:r>
            </a:p>
          </p:txBody>
        </p:sp>
        <p:grpSp>
          <p:nvGrpSpPr>
            <p:cNvPr id="364" name="Gruppieren 363">
              <a:extLst>
                <a:ext uri="{FF2B5EF4-FFF2-40B4-BE49-F238E27FC236}">
                  <a16:creationId xmlns:a16="http://schemas.microsoft.com/office/drawing/2014/main" id="{7C439BF9-5B78-2D24-9AB5-81847B0D2CB3}"/>
                </a:ext>
              </a:extLst>
            </p:cNvPr>
            <p:cNvGrpSpPr/>
            <p:nvPr/>
          </p:nvGrpSpPr>
          <p:grpSpPr>
            <a:xfrm>
              <a:off x="5768405" y="2790684"/>
              <a:ext cx="284579" cy="284579"/>
              <a:chOff x="1328738" y="1681163"/>
              <a:chExt cx="360000" cy="360000"/>
            </a:xfrm>
          </p:grpSpPr>
          <p:sp>
            <p:nvSpPr>
              <p:cNvPr id="365" name="Ellipse 364">
                <a:extLst>
                  <a:ext uri="{FF2B5EF4-FFF2-40B4-BE49-F238E27FC236}">
                    <a16:creationId xmlns:a16="http://schemas.microsoft.com/office/drawing/2014/main" id="{C62459ED-7F9B-2B7F-A20A-E96DF15F9155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66" name="Ellipse 365">
                <a:extLst>
                  <a:ext uri="{FF2B5EF4-FFF2-40B4-BE49-F238E27FC236}">
                    <a16:creationId xmlns:a16="http://schemas.microsoft.com/office/drawing/2014/main" id="{38E04A3E-90DF-1111-18B1-DC09BA062EFE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67" name="Ellipse 366">
                <a:extLst>
                  <a:ext uri="{FF2B5EF4-FFF2-40B4-BE49-F238E27FC236}">
                    <a16:creationId xmlns:a16="http://schemas.microsoft.com/office/drawing/2014/main" id="{7CC6475F-9D62-4ACF-0B06-74EADD476DA9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68" name="Textfeld 367">
              <a:extLst>
                <a:ext uri="{FF2B5EF4-FFF2-40B4-BE49-F238E27FC236}">
                  <a16:creationId xmlns:a16="http://schemas.microsoft.com/office/drawing/2014/main" id="{363800A1-65C2-44B0-F61A-348793771616}"/>
                </a:ext>
              </a:extLst>
            </p:cNvPr>
            <p:cNvSpPr txBox="1"/>
            <p:nvPr/>
          </p:nvSpPr>
          <p:spPr>
            <a:xfrm>
              <a:off x="5556295" y="2413750"/>
              <a:ext cx="70532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>
                  <a:latin typeface="+mj-lt"/>
                </a:rPr>
                <a:t>Lyon</a:t>
              </a:r>
              <a:br>
                <a:rPr lang="de-AT" sz="1200" noProof="0" dirty="0"/>
              </a:br>
              <a:r>
                <a:rPr lang="de-AT" sz="1200" noProof="0" dirty="0"/>
                <a:t>Frankreich</a:t>
              </a:r>
            </a:p>
          </p:txBody>
        </p:sp>
        <p:grpSp>
          <p:nvGrpSpPr>
            <p:cNvPr id="369" name="Gruppieren 368">
              <a:extLst>
                <a:ext uri="{FF2B5EF4-FFF2-40B4-BE49-F238E27FC236}">
                  <a16:creationId xmlns:a16="http://schemas.microsoft.com/office/drawing/2014/main" id="{501B7194-35F5-BC14-0E12-108CCDA68658}"/>
                </a:ext>
              </a:extLst>
            </p:cNvPr>
            <p:cNvGrpSpPr/>
            <p:nvPr/>
          </p:nvGrpSpPr>
          <p:grpSpPr>
            <a:xfrm>
              <a:off x="4627325" y="1944645"/>
              <a:ext cx="284579" cy="284579"/>
              <a:chOff x="1328738" y="1681163"/>
              <a:chExt cx="360000" cy="360000"/>
            </a:xfrm>
          </p:grpSpPr>
          <p:sp>
            <p:nvSpPr>
              <p:cNvPr id="370" name="Ellipse 369">
                <a:extLst>
                  <a:ext uri="{FF2B5EF4-FFF2-40B4-BE49-F238E27FC236}">
                    <a16:creationId xmlns:a16="http://schemas.microsoft.com/office/drawing/2014/main" id="{F79B2543-5DBB-F447-609B-9D6AB54C5546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71" name="Ellipse 370">
                <a:extLst>
                  <a:ext uri="{FF2B5EF4-FFF2-40B4-BE49-F238E27FC236}">
                    <a16:creationId xmlns:a16="http://schemas.microsoft.com/office/drawing/2014/main" id="{E3C44BA0-4901-E8BC-F143-5D8ECA9547E8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id="{8691C643-0DBA-76AC-13FC-E990F7087FC5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73" name="Textfeld 372">
              <a:extLst>
                <a:ext uri="{FF2B5EF4-FFF2-40B4-BE49-F238E27FC236}">
                  <a16:creationId xmlns:a16="http://schemas.microsoft.com/office/drawing/2014/main" id="{BAFA34B4-D141-667D-049C-E462DBFF78E7}"/>
                </a:ext>
              </a:extLst>
            </p:cNvPr>
            <p:cNvSpPr txBox="1"/>
            <p:nvPr/>
          </p:nvSpPr>
          <p:spPr>
            <a:xfrm>
              <a:off x="4399059" y="1542307"/>
              <a:ext cx="71654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 err="1">
                  <a:latin typeface="+mj-lt"/>
                </a:rPr>
                <a:t>Maynooth</a:t>
              </a:r>
              <a:br>
                <a:rPr lang="de-AT" sz="1200" noProof="0" dirty="0"/>
              </a:br>
              <a:r>
                <a:rPr lang="de-AT" sz="1200" noProof="0" dirty="0"/>
                <a:t>Irland</a:t>
              </a:r>
            </a:p>
          </p:txBody>
        </p:sp>
        <p:grpSp>
          <p:nvGrpSpPr>
            <p:cNvPr id="374" name="Gruppieren 373">
              <a:extLst>
                <a:ext uri="{FF2B5EF4-FFF2-40B4-BE49-F238E27FC236}">
                  <a16:creationId xmlns:a16="http://schemas.microsoft.com/office/drawing/2014/main" id="{986D0617-452E-BBC6-6CA8-50EA8D0BB13C}"/>
                </a:ext>
              </a:extLst>
            </p:cNvPr>
            <p:cNvGrpSpPr/>
            <p:nvPr/>
          </p:nvGrpSpPr>
          <p:grpSpPr>
            <a:xfrm>
              <a:off x="4497321" y="3410237"/>
              <a:ext cx="284579" cy="284579"/>
              <a:chOff x="1328738" y="1681163"/>
              <a:chExt cx="360000" cy="360000"/>
            </a:xfrm>
          </p:grpSpPr>
          <p:sp>
            <p:nvSpPr>
              <p:cNvPr id="375" name="Ellipse 374">
                <a:extLst>
                  <a:ext uri="{FF2B5EF4-FFF2-40B4-BE49-F238E27FC236}">
                    <a16:creationId xmlns:a16="http://schemas.microsoft.com/office/drawing/2014/main" id="{36E5363E-EB69-AF81-1B00-CA6ED6582099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id="{8B977193-0F65-912B-98D7-15E24AA16949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77" name="Ellipse 376">
                <a:extLst>
                  <a:ext uri="{FF2B5EF4-FFF2-40B4-BE49-F238E27FC236}">
                    <a16:creationId xmlns:a16="http://schemas.microsoft.com/office/drawing/2014/main" id="{1524421F-A264-248C-FA16-4FF6D3B45A1A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78" name="Textfeld 377">
              <a:extLst>
                <a:ext uri="{FF2B5EF4-FFF2-40B4-BE49-F238E27FC236}">
                  <a16:creationId xmlns:a16="http://schemas.microsoft.com/office/drawing/2014/main" id="{6A750822-D7D8-6DBD-DC9F-4A991BEDD9E1}"/>
                </a:ext>
              </a:extLst>
            </p:cNvPr>
            <p:cNvSpPr txBox="1"/>
            <p:nvPr/>
          </p:nvSpPr>
          <p:spPr>
            <a:xfrm>
              <a:off x="4341990" y="3011835"/>
              <a:ext cx="57066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 err="1">
                  <a:latin typeface="+mj-lt"/>
                </a:rPr>
                <a:t>Minho</a:t>
              </a:r>
              <a:br>
                <a:rPr lang="de-AT" sz="1200" noProof="0" dirty="0"/>
              </a:br>
              <a:r>
                <a:rPr lang="de-AT" sz="1200" noProof="0" dirty="0"/>
                <a:t>Portugal</a:t>
              </a:r>
            </a:p>
          </p:txBody>
        </p:sp>
        <p:grpSp>
          <p:nvGrpSpPr>
            <p:cNvPr id="379" name="Gruppieren 378">
              <a:extLst>
                <a:ext uri="{FF2B5EF4-FFF2-40B4-BE49-F238E27FC236}">
                  <a16:creationId xmlns:a16="http://schemas.microsoft.com/office/drawing/2014/main" id="{938EC558-ED79-7DC3-2130-2FC119261673}"/>
                </a:ext>
              </a:extLst>
            </p:cNvPr>
            <p:cNvGrpSpPr/>
            <p:nvPr/>
          </p:nvGrpSpPr>
          <p:grpSpPr>
            <a:xfrm>
              <a:off x="6332830" y="2853433"/>
              <a:ext cx="284579" cy="284579"/>
              <a:chOff x="1328738" y="1681163"/>
              <a:chExt cx="360000" cy="360000"/>
            </a:xfrm>
          </p:grpSpPr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id="{9973D867-9288-2B62-000A-6D3F017BE329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id="{C28CC6E1-D8C0-C05C-79BD-DC0ABF389F14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id="{EF47555D-8122-1791-4525-39826DC5BB2E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83" name="Textfeld 382">
              <a:extLst>
                <a:ext uri="{FF2B5EF4-FFF2-40B4-BE49-F238E27FC236}">
                  <a16:creationId xmlns:a16="http://schemas.microsoft.com/office/drawing/2014/main" id="{9B39C80C-0DCB-5A1C-4DA6-2C22678567EE}"/>
                </a:ext>
              </a:extLst>
            </p:cNvPr>
            <p:cNvSpPr txBox="1"/>
            <p:nvPr/>
          </p:nvSpPr>
          <p:spPr>
            <a:xfrm>
              <a:off x="6253169" y="3182259"/>
              <a:ext cx="45525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>
                  <a:latin typeface="+mj-lt"/>
                </a:rPr>
                <a:t>Padua</a:t>
              </a:r>
            </a:p>
            <a:p>
              <a:pPr algn="ctr"/>
              <a:r>
                <a:rPr lang="de-AT" sz="1200" noProof="0" dirty="0"/>
                <a:t>Italien</a:t>
              </a:r>
            </a:p>
          </p:txBody>
        </p:sp>
        <p:grpSp>
          <p:nvGrpSpPr>
            <p:cNvPr id="384" name="Gruppieren 383">
              <a:extLst>
                <a:ext uri="{FF2B5EF4-FFF2-40B4-BE49-F238E27FC236}">
                  <a16:creationId xmlns:a16="http://schemas.microsoft.com/office/drawing/2014/main" id="{93D539A3-8F98-5D4E-2DBA-9F65B20AB2A5}"/>
                </a:ext>
              </a:extLst>
            </p:cNvPr>
            <p:cNvGrpSpPr/>
            <p:nvPr/>
          </p:nvGrpSpPr>
          <p:grpSpPr>
            <a:xfrm>
              <a:off x="7376341" y="1795291"/>
              <a:ext cx="284579" cy="284579"/>
              <a:chOff x="1328738" y="1681163"/>
              <a:chExt cx="360000" cy="360000"/>
            </a:xfrm>
          </p:grpSpPr>
          <p:sp>
            <p:nvSpPr>
              <p:cNvPr id="385" name="Ellipse 384">
                <a:extLst>
                  <a:ext uri="{FF2B5EF4-FFF2-40B4-BE49-F238E27FC236}">
                    <a16:creationId xmlns:a16="http://schemas.microsoft.com/office/drawing/2014/main" id="{04BD0198-CA46-67B9-1517-598E9F4CF276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86" name="Ellipse 385">
                <a:extLst>
                  <a:ext uri="{FF2B5EF4-FFF2-40B4-BE49-F238E27FC236}">
                    <a16:creationId xmlns:a16="http://schemas.microsoft.com/office/drawing/2014/main" id="{4B1DB720-2BE8-3EF3-56C5-9675E6BDF6B8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87" name="Ellipse 386">
                <a:extLst>
                  <a:ext uri="{FF2B5EF4-FFF2-40B4-BE49-F238E27FC236}">
                    <a16:creationId xmlns:a16="http://schemas.microsoft.com/office/drawing/2014/main" id="{A590E79C-0077-40DD-3449-18042C9313AE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88" name="Textfeld 387">
              <a:extLst>
                <a:ext uri="{FF2B5EF4-FFF2-40B4-BE49-F238E27FC236}">
                  <a16:creationId xmlns:a16="http://schemas.microsoft.com/office/drawing/2014/main" id="{7C86CFE9-4DDC-DEE2-2332-E937F1F3BAB0}"/>
                </a:ext>
              </a:extLst>
            </p:cNvPr>
            <p:cNvSpPr txBox="1"/>
            <p:nvPr/>
          </p:nvSpPr>
          <p:spPr>
            <a:xfrm>
              <a:off x="7276306" y="1364072"/>
              <a:ext cx="496932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AT" sz="1200" noProof="0" dirty="0">
                  <a:latin typeface="+mj-lt"/>
                </a:rPr>
                <a:t>Vilnius</a:t>
              </a:r>
              <a:br>
                <a:rPr lang="de-AT" sz="1200" noProof="0" dirty="0">
                  <a:latin typeface="+mj-lt"/>
                </a:rPr>
              </a:br>
              <a:r>
                <a:rPr lang="de-AT" sz="1200" noProof="0" dirty="0"/>
                <a:t>Litauen</a:t>
              </a:r>
            </a:p>
          </p:txBody>
        </p:sp>
        <p:grpSp>
          <p:nvGrpSpPr>
            <p:cNvPr id="389" name="Gruppieren 388">
              <a:extLst>
                <a:ext uri="{FF2B5EF4-FFF2-40B4-BE49-F238E27FC236}">
                  <a16:creationId xmlns:a16="http://schemas.microsoft.com/office/drawing/2014/main" id="{03597491-7864-608F-F0C9-4E9304B13A2A}"/>
                </a:ext>
              </a:extLst>
            </p:cNvPr>
            <p:cNvGrpSpPr/>
            <p:nvPr/>
          </p:nvGrpSpPr>
          <p:grpSpPr>
            <a:xfrm>
              <a:off x="6838345" y="2074699"/>
              <a:ext cx="284579" cy="284579"/>
              <a:chOff x="1328738" y="1681163"/>
              <a:chExt cx="360000" cy="360000"/>
            </a:xfrm>
          </p:grpSpPr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id="{9645F4A6-B590-108E-05B4-02CB9FD3C6FF}"/>
                  </a:ext>
                </a:extLst>
              </p:cNvPr>
              <p:cNvSpPr/>
              <p:nvPr/>
            </p:nvSpPr>
            <p:spPr>
              <a:xfrm>
                <a:off x="1328738" y="1681163"/>
                <a:ext cx="360000" cy="360000"/>
              </a:xfrm>
              <a:prstGeom prst="ellipse">
                <a:avLst/>
              </a:prstGeom>
              <a:solidFill>
                <a:srgbClr val="FFE45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id="{04D37207-0F2E-43DF-5ACE-713C9ED5F18B}"/>
                  </a:ext>
                </a:extLst>
              </p:cNvPr>
              <p:cNvSpPr/>
              <p:nvPr/>
            </p:nvSpPr>
            <p:spPr>
              <a:xfrm>
                <a:off x="1382738" y="1735163"/>
                <a:ext cx="252000" cy="252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id="{9EE9C167-9243-BEC4-CEF9-336D93B38203}"/>
                  </a:ext>
                </a:extLst>
              </p:cNvPr>
              <p:cNvSpPr/>
              <p:nvPr/>
            </p:nvSpPr>
            <p:spPr>
              <a:xfrm>
                <a:off x="1454738" y="1807163"/>
                <a:ext cx="108000" cy="108000"/>
              </a:xfrm>
              <a:prstGeom prst="ellipse">
                <a:avLst/>
              </a:prstGeom>
              <a:solidFill>
                <a:srgbClr val="D0AD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2800" noProof="0" dirty="0"/>
              </a:p>
            </p:txBody>
          </p:sp>
        </p:grpSp>
        <p:sp>
          <p:nvSpPr>
            <p:cNvPr id="393" name="Textfeld 392">
              <a:extLst>
                <a:ext uri="{FF2B5EF4-FFF2-40B4-BE49-F238E27FC236}">
                  <a16:creationId xmlns:a16="http://schemas.microsoft.com/office/drawing/2014/main" id="{6C186B23-5A8B-4651-7EE9-DDD342EE574B}"/>
                </a:ext>
              </a:extLst>
            </p:cNvPr>
            <p:cNvSpPr txBox="1"/>
            <p:nvPr/>
          </p:nvSpPr>
          <p:spPr>
            <a:xfrm>
              <a:off x="7178016" y="2136863"/>
              <a:ext cx="66845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AT" sz="1200" noProof="0" dirty="0">
                  <a:latin typeface="+mj-lt"/>
                </a:rPr>
                <a:t>Wrocław</a:t>
              </a:r>
              <a:br>
                <a:rPr lang="de-AT" sz="1200" noProof="0" dirty="0"/>
              </a:br>
              <a:r>
                <a:rPr lang="de-AT" sz="1200" noProof="0" dirty="0"/>
                <a:t>Polen</a:t>
              </a:r>
            </a:p>
          </p:txBody>
        </p:sp>
      </p:grpSp>
      <p:sp>
        <p:nvSpPr>
          <p:cNvPr id="399" name="Textplatzhalter 2">
            <a:extLst>
              <a:ext uri="{FF2B5EF4-FFF2-40B4-BE49-F238E27FC236}">
                <a16:creationId xmlns:a16="http://schemas.microsoft.com/office/drawing/2014/main" id="{EBD6F0CF-CA9D-ADAA-0CC0-C83D1DF6BEF5}"/>
              </a:ext>
            </a:extLst>
          </p:cNvPr>
          <p:cNvSpPr txBox="1">
            <a:spLocks/>
          </p:cNvSpPr>
          <p:nvPr/>
        </p:nvSpPr>
        <p:spPr>
          <a:xfrm>
            <a:off x="296568" y="1032018"/>
            <a:ext cx="3798600" cy="14003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ourier New" panose="02070309020205020404" pitchFamily="49" charset="0"/>
              <a:buNone/>
            </a:pPr>
            <a:r>
              <a:rPr lang="de-AT" sz="2000" noProof="0" dirty="0">
                <a:latin typeface="+mj-lt"/>
              </a:rPr>
              <a:t>Wir sind Teil der </a:t>
            </a:r>
            <a:br>
              <a:rPr lang="de-AT" sz="2000" noProof="0" dirty="0">
                <a:latin typeface="+mj-lt"/>
              </a:rPr>
            </a:br>
            <a:r>
              <a:rPr lang="de-AT" sz="2000" noProof="0" dirty="0">
                <a:latin typeface="+mj-lt"/>
              </a:rPr>
              <a:t>Hochschulallianz „</a:t>
            </a:r>
            <a:r>
              <a:rPr lang="de-AT" sz="2000" noProof="0" dirty="0" err="1">
                <a:latin typeface="+mj-lt"/>
              </a:rPr>
              <a:t>Arqus</a:t>
            </a:r>
            <a:r>
              <a:rPr lang="de-AT" sz="2000" noProof="0" dirty="0">
                <a:latin typeface="+mj-lt"/>
              </a:rPr>
              <a:t>“</a:t>
            </a:r>
          </a:p>
          <a:p>
            <a:pPr marL="182563" indent="-182563"/>
            <a:r>
              <a:rPr lang="de-AT" sz="1200" noProof="0" dirty="0"/>
              <a:t>9 Partnerinnen</a:t>
            </a:r>
          </a:p>
          <a:p>
            <a:pPr marL="182563" indent="-182563"/>
            <a:r>
              <a:rPr lang="de-AT" sz="1200" noProof="0" dirty="0"/>
              <a:t>Joint </a:t>
            </a:r>
            <a:r>
              <a:rPr lang="de-AT" sz="1200" noProof="0" dirty="0" err="1"/>
              <a:t>Master‘s</a:t>
            </a:r>
            <a:r>
              <a:rPr lang="de-AT" sz="1200" noProof="0" dirty="0"/>
              <a:t> Programm „European Studies“ </a:t>
            </a:r>
          </a:p>
          <a:p>
            <a:pPr marL="182563" indent="-182563"/>
            <a:r>
              <a:rPr lang="de-AT" sz="1200" dirty="0"/>
              <a:t>Besonders enge Kooperationen mit den Universitäten</a:t>
            </a:r>
            <a:endParaRPr lang="de-AT" sz="1200" noProof="0" dirty="0"/>
          </a:p>
        </p:txBody>
      </p:sp>
      <p:pic>
        <p:nvPicPr>
          <p:cNvPr id="338" name="Grafik 337">
            <a:extLst>
              <a:ext uri="{FF2B5EF4-FFF2-40B4-BE49-F238E27FC236}">
                <a16:creationId xmlns:a16="http://schemas.microsoft.com/office/drawing/2014/main" id="{72946BEC-F5BA-1060-DC3F-738765050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417" name="Rechteck 416">
            <a:extLst>
              <a:ext uri="{FF2B5EF4-FFF2-40B4-BE49-F238E27FC236}">
                <a16:creationId xmlns:a16="http://schemas.microsoft.com/office/drawing/2014/main" id="{F5B50969-7510-A165-7312-A6938E67C076}"/>
              </a:ext>
            </a:extLst>
          </p:cNvPr>
          <p:cNvSpPr/>
          <p:nvPr/>
        </p:nvSpPr>
        <p:spPr>
          <a:xfrm>
            <a:off x="1784047" y="3178624"/>
            <a:ext cx="1162526" cy="55549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de-AT" sz="1050" noProof="0" dirty="0">
                <a:solidFill>
                  <a:schemeClr val="tx1"/>
                </a:solidFill>
              </a:rPr>
              <a:t>Nanjing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3FD06594-6DF5-3A78-C613-C3557077763E}"/>
              </a:ext>
            </a:extLst>
          </p:cNvPr>
          <p:cNvSpPr/>
          <p:nvPr/>
        </p:nvSpPr>
        <p:spPr>
          <a:xfrm>
            <a:off x="489474" y="2524384"/>
            <a:ext cx="1162526" cy="55549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AT" sz="1050" noProof="0" dirty="0">
              <a:solidFill>
                <a:schemeClr val="tx1"/>
              </a:solidFill>
            </a:endParaRP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F2A268C2-61F7-8F04-B0DA-0478DA1CD6E6}"/>
              </a:ext>
            </a:extLst>
          </p:cNvPr>
          <p:cNvSpPr/>
          <p:nvPr/>
        </p:nvSpPr>
        <p:spPr>
          <a:xfrm>
            <a:off x="1784047" y="2513646"/>
            <a:ext cx="1162526" cy="55549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AT" sz="1050" noProof="0" dirty="0">
              <a:solidFill>
                <a:schemeClr val="tx1"/>
              </a:solidFill>
            </a:endParaRP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544BF3A9-9272-D516-0B25-A393A0F99329}"/>
              </a:ext>
            </a:extLst>
          </p:cNvPr>
          <p:cNvSpPr/>
          <p:nvPr/>
        </p:nvSpPr>
        <p:spPr>
          <a:xfrm>
            <a:off x="489474" y="3178624"/>
            <a:ext cx="1162526" cy="55549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AT" sz="1050" noProof="0" dirty="0">
              <a:solidFill>
                <a:schemeClr val="tx1"/>
              </a:solidFill>
            </a:endParaRP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E28C34DC-0BFE-25C9-E195-47026E9D75B7}"/>
              </a:ext>
            </a:extLst>
          </p:cNvPr>
          <p:cNvSpPr/>
          <p:nvPr/>
        </p:nvSpPr>
        <p:spPr>
          <a:xfrm>
            <a:off x="489474" y="3832864"/>
            <a:ext cx="1162526" cy="55549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AT" sz="1050" noProof="0" dirty="0">
              <a:solidFill>
                <a:schemeClr val="tx1"/>
              </a:solidFill>
            </a:endParaRPr>
          </a:p>
        </p:txBody>
      </p:sp>
      <p:pic>
        <p:nvPicPr>
          <p:cNvPr id="422" name="Picture 6" descr="Montclair State University Logo PNG vector in SVG, PDF, AI ...">
            <a:extLst>
              <a:ext uri="{FF2B5EF4-FFF2-40B4-BE49-F238E27FC236}">
                <a16:creationId xmlns:a16="http://schemas.microsoft.com/office/drawing/2014/main" id="{8445C10D-44F2-D9C3-2042-5CABE59240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9" t="39005" r="5791" b="38816"/>
          <a:stretch/>
        </p:blipFill>
        <p:spPr bwMode="auto">
          <a:xfrm>
            <a:off x="556123" y="3375081"/>
            <a:ext cx="1029228" cy="19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3" name="Picture 2" descr="undefined">
            <a:extLst>
              <a:ext uri="{FF2B5EF4-FFF2-40B4-BE49-F238E27FC236}">
                <a16:creationId xmlns:a16="http://schemas.microsoft.com/office/drawing/2014/main" id="{13EAE635-A146-2890-4E74-B28763AFEA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8546" y="3241212"/>
            <a:ext cx="213529" cy="267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4" name="Grafik 423">
            <a:extLst>
              <a:ext uri="{FF2B5EF4-FFF2-40B4-BE49-F238E27FC236}">
                <a16:creationId xmlns:a16="http://schemas.microsoft.com/office/drawing/2014/main" id="{CBD67828-2BFC-C91C-86C4-8B50F8D13AD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9757" y="3934269"/>
            <a:ext cx="541960" cy="400716"/>
          </a:xfrm>
          <a:prstGeom prst="rect">
            <a:avLst/>
          </a:prstGeom>
        </p:spPr>
      </p:pic>
      <p:pic>
        <p:nvPicPr>
          <p:cNvPr id="425" name="Grafik 424">
            <a:extLst>
              <a:ext uri="{FF2B5EF4-FFF2-40B4-BE49-F238E27FC236}">
                <a16:creationId xmlns:a16="http://schemas.microsoft.com/office/drawing/2014/main" id="{0BD90B51-7EAD-0FB9-D33C-49AFF082758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37337" y="2587189"/>
            <a:ext cx="1066800" cy="449512"/>
          </a:xfrm>
          <a:prstGeom prst="rect">
            <a:avLst/>
          </a:prstGeom>
        </p:spPr>
      </p:pic>
      <p:pic>
        <p:nvPicPr>
          <p:cNvPr id="426" name="Picture 8" descr="University of Ljubljana, Slovenia | Study.eu">
            <a:extLst>
              <a:ext uri="{FF2B5EF4-FFF2-40B4-BE49-F238E27FC236}">
                <a16:creationId xmlns:a16="http://schemas.microsoft.com/office/drawing/2014/main" id="{47A2B3D3-CA20-2500-BA03-0A895DDD3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760" y="2554587"/>
            <a:ext cx="1043100" cy="47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>
            <a:hlinkClick r:id="rId16" action="ppaction://hlinksldjump"/>
            <a:extLst>
              <a:ext uri="{FF2B5EF4-FFF2-40B4-BE49-F238E27FC236}">
                <a16:creationId xmlns:a16="http://schemas.microsoft.com/office/drawing/2014/main" id="{8EAF92B9-0217-0C89-9DBB-D35B848B02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33646" y="4775981"/>
            <a:ext cx="294240" cy="29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1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8B4FBB8-528D-0290-560B-EF87EA5FE6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70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B4FBB8-528D-0290-560B-EF87EA5FE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9E0D3F6D-AB2C-2F44-6846-1AF8F2B3E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4840" y="1641384"/>
            <a:ext cx="6104299" cy="18907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FB1D6DD-FA22-227E-591C-6DAE8BB78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7757" y="890144"/>
            <a:ext cx="4727277" cy="398571"/>
          </a:xfrm>
        </p:spPr>
        <p:txBody>
          <a:bodyPr vert="horz">
            <a:spAutoFit/>
          </a:bodyPr>
          <a:lstStyle/>
          <a:p>
            <a:pPr algn="ctr"/>
            <a:r>
              <a:rPr lang="de-AT" sz="2800" noProof="0" dirty="0">
                <a:solidFill>
                  <a:schemeClr val="tx1"/>
                </a:solidFill>
                <a:latin typeface="+mn-lt"/>
              </a:rPr>
              <a:t>Werde Teil unserer Mission</a:t>
            </a:r>
          </a:p>
        </p:txBody>
      </p:sp>
    </p:spTree>
    <p:extLst>
      <p:ext uri="{BB962C8B-B14F-4D97-AF65-F5344CB8AC3E}">
        <p14:creationId xmlns:p14="http://schemas.microsoft.com/office/powerpoint/2010/main" val="326932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DCC4EC-D2C8-61D8-2E8B-9FA298ECE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419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DCC4EC-D2C8-61D8-2E8B-9FA298ECE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platzhalter 22" descr="Bild mit StudentInnen und ProfessorInnen vor der Universität Graz">
            <a:extLst>
              <a:ext uri="{FF2B5EF4-FFF2-40B4-BE49-F238E27FC236}">
                <a16:creationId xmlns:a16="http://schemas.microsoft.com/office/drawing/2014/main" id="{8BA5B841-2E7B-CAFF-CB5E-2933B8C3A1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6346"/>
          </a:xfrm>
          <a:prstGeom prst="rect">
            <a:avLst/>
          </a:prstGeom>
        </p:spPr>
      </p:pic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A59D85B1-208F-2183-210A-D6520958B7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1131889"/>
            <a:ext cx="3199464" cy="4011613"/>
          </a:xfrm>
          <a:custGeom>
            <a:avLst/>
            <a:gdLst>
              <a:gd name="connsiteX0" fmla="*/ 624705 w 3199464"/>
              <a:gd name="connsiteY0" fmla="*/ 0 h 4011613"/>
              <a:gd name="connsiteX1" fmla="*/ 3199464 w 3199464"/>
              <a:gd name="connsiteY1" fmla="*/ 2571750 h 4011613"/>
              <a:gd name="connsiteX2" fmla="*/ 2759736 w 3199464"/>
              <a:gd name="connsiteY2" fmla="*/ 4009640 h 4011613"/>
              <a:gd name="connsiteX3" fmla="*/ 2758258 w 3199464"/>
              <a:gd name="connsiteY3" fmla="*/ 4011613 h 4011613"/>
              <a:gd name="connsiteX4" fmla="*/ 1924137 w 3199464"/>
              <a:gd name="connsiteY4" fmla="*/ 4011613 h 4011613"/>
              <a:gd name="connsiteX5" fmla="*/ 1995144 w 3199464"/>
              <a:gd name="connsiteY5" fmla="*/ 3947078 h 4011613"/>
              <a:gd name="connsiteX6" fmla="*/ 2564528 w 3199464"/>
              <a:gd name="connsiteY6" fmla="*/ 2572462 h 4011613"/>
              <a:gd name="connsiteX7" fmla="*/ 620528 w 3199464"/>
              <a:gd name="connsiteY7" fmla="*/ 628462 h 4011613"/>
              <a:gd name="connsiteX8" fmla="*/ 42442 w 3199464"/>
              <a:gd name="connsiteY8" fmla="*/ 715860 h 4011613"/>
              <a:gd name="connsiteX9" fmla="*/ 0 w 3199464"/>
              <a:gd name="connsiteY9" fmla="*/ 731394 h 4011613"/>
              <a:gd name="connsiteX10" fmla="*/ 0 w 3199464"/>
              <a:gd name="connsiteY10" fmla="*/ 79422 h 4011613"/>
              <a:gd name="connsiteX11" fmla="*/ 105801 w 3199464"/>
              <a:gd name="connsiteY11" fmla="*/ 52249 h 4011613"/>
              <a:gd name="connsiteX12" fmla="*/ 624705 w 3199464"/>
              <a:gd name="connsiteY12" fmla="*/ 0 h 401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9464" h="4011613">
                <a:moveTo>
                  <a:pt x="624705" y="0"/>
                </a:moveTo>
                <a:cubicBezTo>
                  <a:pt x="2046705" y="0"/>
                  <a:pt x="3199464" y="1151412"/>
                  <a:pt x="3199464" y="2571750"/>
                </a:cubicBezTo>
                <a:cubicBezTo>
                  <a:pt x="3199464" y="3104377"/>
                  <a:pt x="3037357" y="3599186"/>
                  <a:pt x="2759736" y="4009640"/>
                </a:cubicBezTo>
                <a:lnTo>
                  <a:pt x="2758258" y="4011613"/>
                </a:lnTo>
                <a:lnTo>
                  <a:pt x="1924137" y="4011613"/>
                </a:lnTo>
                <a:lnTo>
                  <a:pt x="1995144" y="3947078"/>
                </a:lnTo>
                <a:cubicBezTo>
                  <a:pt x="2346939" y="3595283"/>
                  <a:pt x="2564528" y="3109283"/>
                  <a:pt x="2564528" y="2572462"/>
                </a:cubicBezTo>
                <a:cubicBezTo>
                  <a:pt x="2564528" y="1498820"/>
                  <a:pt x="1694170" y="628462"/>
                  <a:pt x="620528" y="628462"/>
                </a:cubicBezTo>
                <a:cubicBezTo>
                  <a:pt x="419220" y="628462"/>
                  <a:pt x="225059" y="659061"/>
                  <a:pt x="42442" y="715860"/>
                </a:cubicBezTo>
                <a:lnTo>
                  <a:pt x="0" y="731394"/>
                </a:lnTo>
                <a:lnTo>
                  <a:pt x="0" y="79422"/>
                </a:lnTo>
                <a:lnTo>
                  <a:pt x="105801" y="52249"/>
                </a:lnTo>
                <a:cubicBezTo>
                  <a:pt x="273412" y="17991"/>
                  <a:pt x="446955" y="0"/>
                  <a:pt x="6247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noProof="0" dirty="0"/>
              <a:t>   l,,</a:t>
            </a:r>
            <a:r>
              <a:rPr lang="de-AT" noProof="0" dirty="0" err="1"/>
              <a:t>öääö</a:t>
            </a:r>
            <a:endParaRPr lang="de-AT" noProof="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EDD251E-578F-F950-9122-FD83A445301E}"/>
              </a:ext>
            </a:extLst>
          </p:cNvPr>
          <p:cNvSpPr txBox="1">
            <a:spLocks/>
          </p:cNvSpPr>
          <p:nvPr/>
        </p:nvSpPr>
        <p:spPr>
          <a:xfrm>
            <a:off x="-1" y="1967789"/>
            <a:ext cx="9143999" cy="3175711"/>
          </a:xfrm>
          <a:prstGeom prst="rect">
            <a:avLst/>
          </a:prstGeom>
          <a:gradFill flip="none" rotWithShape="1"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</p:spPr>
        <p:txBody>
          <a:bodyPr vert="horz" lIns="1116000" tIns="324000" rIns="0" bIns="32400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AT" sz="3200" noProof="0" dirty="0"/>
          </a:p>
        </p:txBody>
      </p:sp>
      <p:pic>
        <p:nvPicPr>
          <p:cNvPr id="33" name="Bildplatzhalter 8" descr="Ein Bild, das Text, Screenshot, Grafiken, Rechteck enthält.&#10;&#10;Automatisch generierte Beschreibung">
            <a:extLst>
              <a:ext uri="{FF2B5EF4-FFF2-40B4-BE49-F238E27FC236}">
                <a16:creationId xmlns:a16="http://schemas.microsoft.com/office/drawing/2014/main" id="{C74EC366-8CDC-635A-DD1D-593B7420A2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71" b="7371"/>
          <a:stretch>
            <a:fillRect/>
          </a:stretch>
        </p:blipFill>
        <p:spPr>
          <a:xfrm>
            <a:off x="5040313" y="0"/>
            <a:ext cx="4103687" cy="1347788"/>
          </a:xfrm>
          <a:prstGeom prst="rect">
            <a:avLst/>
          </a:prstGeom>
        </p:spPr>
      </p:pic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DF95565-4030-1BCB-C31A-31B411CA51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33A1F8C0-1755-7E8B-2712-8432A5A2CA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3" y="2065020"/>
            <a:ext cx="9143999" cy="3078480"/>
          </a:xfrm>
        </p:spPr>
        <p:txBody>
          <a:bodyPr vert="horz"/>
          <a:lstStyle/>
          <a:p>
            <a:r>
              <a:rPr lang="de-AT" dirty="0"/>
              <a:t>Willkommen an der</a:t>
            </a:r>
            <a:br>
              <a:rPr lang="de-AT" dirty="0"/>
            </a:br>
            <a:r>
              <a:rPr lang="de-AT" dirty="0"/>
              <a:t>Universität Graz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A79649E-9675-E482-CCFC-A01E1B04B4F7}"/>
              </a:ext>
            </a:extLst>
          </p:cNvPr>
          <p:cNvSpPr txBox="1"/>
          <p:nvPr/>
        </p:nvSpPr>
        <p:spPr>
          <a:xfrm>
            <a:off x="-3" y="3972241"/>
            <a:ext cx="3789083" cy="369332"/>
          </a:xfrm>
          <a:prstGeom prst="rect">
            <a:avLst/>
          </a:prstGeom>
          <a:noFill/>
        </p:spPr>
        <p:txBody>
          <a:bodyPr wrap="none" lIns="252000" tIns="0" rIns="0" bIns="0" rtlCol="0">
            <a:spAutoFit/>
          </a:bodyPr>
          <a:lstStyle/>
          <a:p>
            <a:pPr algn="l"/>
            <a:r>
              <a:rPr lang="de-AT" sz="1200" dirty="0">
                <a:latin typeface="+mj-lt"/>
              </a:rPr>
              <a:t>Universität Graz, Universitätsplatz 3, 8010 Graz  </a:t>
            </a:r>
          </a:p>
          <a:p>
            <a:pPr algn="l"/>
            <a:r>
              <a:rPr lang="de-AT" sz="1200" dirty="0">
                <a:hlinkClick r:id="rId8"/>
              </a:rPr>
              <a:t>info@uni-graz.at</a:t>
            </a:r>
            <a:r>
              <a:rPr lang="de-AT" sz="1200" dirty="0"/>
              <a:t>, uni-graz.at</a:t>
            </a:r>
            <a:endParaRPr lang="de-AT" sz="1400" dirty="0"/>
          </a:p>
        </p:txBody>
      </p:sp>
      <p:pic>
        <p:nvPicPr>
          <p:cNvPr id="1026" name="Picture 2" descr="Index of /templates/jobad/axa/shared/img">
            <a:hlinkClick r:id="rId9"/>
            <a:extLst>
              <a:ext uri="{FF2B5EF4-FFF2-40B4-BE49-F238E27FC236}">
                <a16:creationId xmlns:a16="http://schemas.microsoft.com/office/drawing/2014/main" id="{954DB3A1-1AEF-E2A8-BD1E-C63574097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234" y="4386655"/>
            <a:ext cx="189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 simplified silhouette of a butterfly, with two symmetric pairs of wings, colored with a sky-blue gradient">
            <a:hlinkClick r:id="rId11"/>
            <a:extLst>
              <a:ext uri="{FF2B5EF4-FFF2-40B4-BE49-F238E27FC236}">
                <a16:creationId xmlns:a16="http://schemas.microsoft.com/office/drawing/2014/main" id="{D3F1C109-0DC7-1757-F99D-A68DBCC6C2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944" y="4409417"/>
            <a:ext cx="203668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>
            <a:hlinkClick r:id="rId13"/>
            <a:extLst>
              <a:ext uri="{FF2B5EF4-FFF2-40B4-BE49-F238E27FC236}">
                <a16:creationId xmlns:a16="http://schemas.microsoft.com/office/drawing/2014/main" id="{930F8ACD-B79E-2771-F5A4-211752E6165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67954" y="4393799"/>
            <a:ext cx="216000" cy="216000"/>
          </a:xfrm>
          <a:prstGeom prst="rect">
            <a:avLst/>
          </a:prstGeom>
        </p:spPr>
      </p:pic>
      <p:pic>
        <p:nvPicPr>
          <p:cNvPr id="18" name="Grafik 17">
            <a:hlinkClick r:id="rId16"/>
            <a:extLst>
              <a:ext uri="{FF2B5EF4-FFF2-40B4-BE49-F238E27FC236}">
                <a16:creationId xmlns:a16="http://schemas.microsoft.com/office/drawing/2014/main" id="{FC855A0C-BE11-5174-AA36-F543768FF3A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93794" y="4403323"/>
            <a:ext cx="216000" cy="216000"/>
          </a:xfrm>
          <a:prstGeom prst="rect">
            <a:avLst/>
          </a:prstGeom>
        </p:spPr>
      </p:pic>
      <p:pic>
        <p:nvPicPr>
          <p:cNvPr id="20" name="Grafik 19">
            <a:hlinkClick r:id="rId19"/>
            <a:extLst>
              <a:ext uri="{FF2B5EF4-FFF2-40B4-BE49-F238E27FC236}">
                <a16:creationId xmlns:a16="http://schemas.microsoft.com/office/drawing/2014/main" id="{BB4819B8-E859-A2BF-6F4A-EEE08ED689B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38684" y="4401737"/>
            <a:ext cx="216000" cy="216000"/>
          </a:xfrm>
          <a:prstGeom prst="rect">
            <a:avLst/>
          </a:prstGeom>
        </p:spPr>
      </p:pic>
      <p:pic>
        <p:nvPicPr>
          <p:cNvPr id="22" name="Grafik 21">
            <a:hlinkClick r:id="rId22"/>
            <a:extLst>
              <a:ext uri="{FF2B5EF4-FFF2-40B4-BE49-F238E27FC236}">
                <a16:creationId xmlns:a16="http://schemas.microsoft.com/office/drawing/2014/main" id="{5EF41BBD-9E99-D5D7-E884-946D8CA858A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55166" y="4408085"/>
            <a:ext cx="216000" cy="216000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61BC08C9-567D-963C-C412-951B1DC46659}"/>
              </a:ext>
            </a:extLst>
          </p:cNvPr>
          <p:cNvSpPr txBox="1"/>
          <p:nvPr/>
        </p:nvSpPr>
        <p:spPr>
          <a:xfrm>
            <a:off x="-3" y="4727891"/>
            <a:ext cx="1911966" cy="246221"/>
          </a:xfrm>
          <a:prstGeom prst="rect">
            <a:avLst/>
          </a:prstGeom>
          <a:noFill/>
        </p:spPr>
        <p:txBody>
          <a:bodyPr wrap="none" lIns="252000" tIns="0" rIns="0" bIns="0" rtlCol="0">
            <a:spAutoFit/>
          </a:bodyPr>
          <a:lstStyle/>
          <a:p>
            <a:pPr algn="l"/>
            <a:r>
              <a:rPr lang="de-AT" sz="800" dirty="0"/>
              <a:t>Fotos: Universität Graz, Adobe Stock</a:t>
            </a:r>
          </a:p>
          <a:p>
            <a:pPr algn="l"/>
            <a:r>
              <a:rPr lang="de-AT" sz="800" dirty="0"/>
              <a:t>© Universität Graz, 2025</a:t>
            </a:r>
          </a:p>
        </p:txBody>
      </p:sp>
    </p:spTree>
    <p:extLst>
      <p:ext uri="{BB962C8B-B14F-4D97-AF65-F5344CB8AC3E}">
        <p14:creationId xmlns:p14="http://schemas.microsoft.com/office/powerpoint/2010/main" val="1038440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E1CB304-DE07-D172-F995-E56C6134FF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33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1CB304-DE07-D172-F995-E56C6134F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>
            <a:extLst>
              <a:ext uri="{FF2B5EF4-FFF2-40B4-BE49-F238E27FC236}">
                <a16:creationId xmlns:a16="http://schemas.microsoft.com/office/drawing/2014/main" id="{FBEF9C23-A98A-F3C3-8149-7398EB7EA25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144"/>
            <a:ext cx="9156700" cy="515064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AD5B279-2CC8-826F-9D67-C8908E9E4CF0}"/>
              </a:ext>
            </a:extLst>
          </p:cNvPr>
          <p:cNvSpPr/>
          <p:nvPr/>
        </p:nvSpPr>
        <p:spPr>
          <a:xfrm>
            <a:off x="-1" y="0"/>
            <a:ext cx="9144001" cy="2571750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3BA802-A959-4B01-CA21-A3883C02F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Über 400 Jahren im Auftrag </a:t>
            </a:r>
            <a:br>
              <a:rPr lang="de-AT" noProof="0" dirty="0"/>
            </a:br>
            <a:r>
              <a:rPr lang="de-AT" noProof="0" dirty="0"/>
              <a:t>der Wissenschaf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A3F9CD-EC16-16C3-65E2-5C61092546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347788"/>
            <a:ext cx="4288383" cy="1231106"/>
          </a:xfrm>
        </p:spPr>
        <p:txBody>
          <a:bodyPr wrap="square">
            <a:sp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de-AT" sz="2000" noProof="0" dirty="0"/>
              <a:t>Gegründet 1585</a:t>
            </a:r>
            <a:endParaRPr lang="de-AT" sz="2000" dirty="0"/>
          </a:p>
          <a:p>
            <a:pPr marL="0" indent="0">
              <a:spcAft>
                <a:spcPts val="1200"/>
              </a:spcAft>
              <a:buNone/>
            </a:pPr>
            <a:r>
              <a:rPr lang="de-AT" sz="2000" noProof="0" dirty="0"/>
              <a:t>Zweitälteste Universität Österreichs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de-AT" sz="2000" noProof="0" dirty="0"/>
              <a:t>6 Nobelpreisträger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0EEFE5A-FDB9-E8DB-2EA4-A7800C761AF0}"/>
              </a:ext>
            </a:extLst>
          </p:cNvPr>
          <p:cNvSpPr/>
          <p:nvPr/>
        </p:nvSpPr>
        <p:spPr>
          <a:xfrm>
            <a:off x="250825" y="3394428"/>
            <a:ext cx="1479197" cy="1479197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 anchorCtr="0"/>
          <a:lstStyle/>
          <a:p>
            <a:pPr algn="ctr"/>
            <a:r>
              <a:rPr lang="de-AT" sz="2000" noProof="0" dirty="0">
                <a:solidFill>
                  <a:schemeClr val="tx1"/>
                </a:solidFill>
                <a:latin typeface="+mj-lt"/>
              </a:rPr>
              <a:t>30.000</a:t>
            </a:r>
            <a:br>
              <a:rPr lang="de-AT" noProof="0" dirty="0">
                <a:solidFill>
                  <a:schemeClr val="tx1"/>
                </a:solidFill>
                <a:latin typeface="+mj-lt"/>
              </a:rPr>
            </a:br>
            <a:r>
              <a:rPr lang="de-AT" sz="1400" noProof="0" dirty="0">
                <a:solidFill>
                  <a:schemeClr val="tx1"/>
                </a:solidFill>
              </a:rPr>
              <a:t>Studierende</a:t>
            </a:r>
            <a:endParaRPr lang="de-AT" sz="1050" noProof="0" dirty="0">
              <a:solidFill>
                <a:schemeClr val="tx1"/>
              </a:solidFill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5EEBE9-9304-97E3-2B87-33DA067EAC9F}"/>
              </a:ext>
            </a:extLst>
          </p:cNvPr>
          <p:cNvSpPr/>
          <p:nvPr/>
        </p:nvSpPr>
        <p:spPr>
          <a:xfrm>
            <a:off x="1631209" y="2743627"/>
            <a:ext cx="1036625" cy="1036624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AT" sz="2000" noProof="0" dirty="0">
                <a:solidFill>
                  <a:schemeClr val="tx1"/>
                </a:solidFill>
                <a:latin typeface="+mj-lt"/>
              </a:rPr>
              <a:t>3.000</a:t>
            </a:r>
            <a:br>
              <a:rPr lang="de-AT" noProof="0" dirty="0">
                <a:solidFill>
                  <a:schemeClr val="tx1"/>
                </a:solidFill>
                <a:latin typeface="+mj-lt"/>
              </a:rPr>
            </a:br>
            <a:r>
              <a:rPr lang="de-AT" sz="1400" noProof="0" dirty="0">
                <a:solidFill>
                  <a:schemeClr val="tx1"/>
                </a:solidFill>
              </a:rPr>
              <a:t>Forschend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96F44647-A32C-74DB-7804-0718E3432678}"/>
              </a:ext>
            </a:extLst>
          </p:cNvPr>
          <p:cNvCxnSpPr>
            <a:cxnSpLocks/>
          </p:cNvCxnSpPr>
          <p:nvPr/>
        </p:nvCxnSpPr>
        <p:spPr>
          <a:xfrm flipV="1">
            <a:off x="1559483" y="3542025"/>
            <a:ext cx="163224" cy="112918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>
            <a:hlinkClick r:id="rId7" action="ppaction://hlinksldjump"/>
            <a:extLst>
              <a:ext uri="{FF2B5EF4-FFF2-40B4-BE49-F238E27FC236}">
                <a16:creationId xmlns:a16="http://schemas.microsoft.com/office/drawing/2014/main" id="{A6FA39F6-9DE0-EDBC-3A49-A6F0F6CDAB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7086" y="4502678"/>
            <a:ext cx="326673" cy="32667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67A6C29-E9A4-7A4C-5754-6FFCDCB4A4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580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780F03C-A93E-EE81-B16C-E23B48AA8B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206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0F03C-A93E-EE81-B16C-E23B48AA8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>
            <a:extLst>
              <a:ext uri="{FF2B5EF4-FFF2-40B4-BE49-F238E27FC236}">
                <a16:creationId xmlns:a16="http://schemas.microsoft.com/office/drawing/2014/main" id="{60764E72-F7A2-0BDA-B8CE-358F1559950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73345" cy="5143500"/>
          </a:xfrm>
          <a:prstGeom prst="rect">
            <a:avLst/>
          </a:prstGeom>
        </p:spPr>
      </p:pic>
      <p:sp>
        <p:nvSpPr>
          <p:cNvPr id="43" name="Freihandform 57">
            <a:extLst>
              <a:ext uri="{FF2B5EF4-FFF2-40B4-BE49-F238E27FC236}">
                <a16:creationId xmlns:a16="http://schemas.microsoft.com/office/drawing/2014/main" id="{9FF4C309-E8AC-DF55-4116-76171AE8BC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 flipH="1">
            <a:off x="4312680" y="-941473"/>
            <a:ext cx="108000" cy="7524000"/>
          </a:xfrm>
          <a:prstGeom prst="rect">
            <a:avLst/>
          </a:prstGeom>
          <a:solidFill>
            <a:schemeClr val="bg1">
              <a:lumMod val="6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AT" dirty="0"/>
          </a:p>
        </p:txBody>
      </p:sp>
      <p:sp>
        <p:nvSpPr>
          <p:cNvPr id="36" name="Oval 58">
            <a:extLst>
              <a:ext uri="{FF2B5EF4-FFF2-40B4-BE49-F238E27FC236}">
                <a16:creationId xmlns:a16="http://schemas.microsoft.com/office/drawing/2014/main" id="{9C031D2A-A162-D0B8-8C6B-6B5922A18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552322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38" name="Oval 58">
            <a:extLst>
              <a:ext uri="{FF2B5EF4-FFF2-40B4-BE49-F238E27FC236}">
                <a16:creationId xmlns:a16="http://schemas.microsoft.com/office/drawing/2014/main" id="{AE554C52-9C98-88BE-01BA-722443BF58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823764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32" name="Oval 58">
            <a:extLst>
              <a:ext uri="{FF2B5EF4-FFF2-40B4-BE49-F238E27FC236}">
                <a16:creationId xmlns:a16="http://schemas.microsoft.com/office/drawing/2014/main" id="{20BDF8B0-3919-0196-021D-A20B1664E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095206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0D009B76-6EB4-0B26-993E-4F91A4BAA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/>
              <a:t>Wissensdurst seit 1585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3BAA04C-0DC2-189E-6F1C-92A7B321FB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3504" y="2629019"/>
            <a:ext cx="395786" cy="383018"/>
            <a:chOff x="5566142" y="2459344"/>
            <a:chExt cx="395786" cy="383018"/>
          </a:xfrm>
        </p:grpSpPr>
        <p:sp>
          <p:nvSpPr>
            <p:cNvPr id="7" name="Oval 54">
              <a:extLst>
                <a:ext uri="{FF2B5EF4-FFF2-40B4-BE49-F238E27FC236}">
                  <a16:creationId xmlns:a16="http://schemas.microsoft.com/office/drawing/2014/main" id="{3D1CA4C4-AEEC-D02B-EC79-C66E1A437A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71035" y="2560852"/>
              <a:ext cx="186000" cy="18000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666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  <p:sp>
          <p:nvSpPr>
            <p:cNvPr id="8" name="Oval 24">
              <a:extLst>
                <a:ext uri="{FF2B5EF4-FFF2-40B4-BE49-F238E27FC236}">
                  <a16:creationId xmlns:a16="http://schemas.microsoft.com/office/drawing/2014/main" id="{A8B2F397-FD85-1AF9-081A-BED2CA9A11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66142" y="2459344"/>
              <a:ext cx="395786" cy="383018"/>
            </a:xfrm>
            <a:prstGeom prst="ellipse">
              <a:avLst/>
            </a:prstGeom>
            <a:solidFill>
              <a:schemeClr val="accent1">
                <a:alpha val="63000"/>
              </a:schemeClr>
            </a:solidFill>
            <a:ln w="666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  <p:sp>
        <p:nvSpPr>
          <p:cNvPr id="12" name="Oval 58">
            <a:extLst>
              <a:ext uri="{FF2B5EF4-FFF2-40B4-BE49-F238E27FC236}">
                <a16:creationId xmlns:a16="http://schemas.microsoft.com/office/drawing/2014/main" id="{2FB2D47C-C872-9848-F2EF-49CD6424BF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366648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101B0E7-AE90-780B-9372-21DB19B14380}"/>
              </a:ext>
            </a:extLst>
          </p:cNvPr>
          <p:cNvSpPr txBox="1"/>
          <p:nvPr/>
        </p:nvSpPr>
        <p:spPr>
          <a:xfrm>
            <a:off x="261405" y="1339939"/>
            <a:ext cx="1232113" cy="830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AT" sz="1400" dirty="0">
                <a:latin typeface="+mj-lt"/>
              </a:rPr>
              <a:t>1585</a:t>
            </a:r>
          </a:p>
          <a:p>
            <a:r>
              <a:rPr lang="de-AT" sz="1000" dirty="0"/>
              <a:t>Gründung als Ordenshochschule der Jesuiten durch Erzherzog Karl II. </a:t>
            </a:r>
          </a:p>
        </p:txBody>
      </p:sp>
      <p:cxnSp>
        <p:nvCxnSpPr>
          <p:cNvPr id="15" name="Gerade Verbindung 59">
            <a:extLst>
              <a:ext uri="{FF2B5EF4-FFF2-40B4-BE49-F238E27FC236}">
                <a16:creationId xmlns:a16="http://schemas.microsoft.com/office/drawing/2014/main" id="{DAF1ABAF-156E-284B-21AE-ADBCA158FA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42248" y="2935282"/>
            <a:ext cx="0" cy="360000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9C0A4ED2-F1AC-7E93-25B9-45C12DCF3B8C}"/>
              </a:ext>
            </a:extLst>
          </p:cNvPr>
          <p:cNvSpPr txBox="1"/>
          <p:nvPr/>
        </p:nvSpPr>
        <p:spPr>
          <a:xfrm>
            <a:off x="968163" y="3451500"/>
            <a:ext cx="1311104" cy="830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AT" sz="1400" dirty="0">
                <a:latin typeface="+mj-lt"/>
              </a:rPr>
              <a:t>1602-1609</a:t>
            </a:r>
            <a:r>
              <a:rPr lang="de-AT" sz="1100" dirty="0"/>
              <a:t> </a:t>
            </a:r>
            <a:br>
              <a:rPr lang="de-AT" sz="1100" dirty="0"/>
            </a:br>
            <a:r>
              <a:rPr lang="de-AT" sz="1000" dirty="0"/>
              <a:t>Errichtung des </a:t>
            </a:r>
            <a:br>
              <a:rPr lang="de-AT" sz="1000" dirty="0"/>
            </a:br>
            <a:r>
              <a:rPr lang="de-AT" sz="1000" dirty="0"/>
              <a:t>Universitäts-</a:t>
            </a:r>
            <a:br>
              <a:rPr lang="de-AT" sz="1000" dirty="0"/>
            </a:br>
            <a:r>
              <a:rPr lang="de-AT" sz="1000" dirty="0" err="1"/>
              <a:t>gebäudes</a:t>
            </a:r>
            <a:r>
              <a:rPr lang="de-AT" sz="1000" dirty="0"/>
              <a:t> in der </a:t>
            </a:r>
            <a:br>
              <a:rPr lang="de-AT" sz="1000" dirty="0"/>
            </a:br>
            <a:r>
              <a:rPr lang="de-AT" sz="1000" dirty="0"/>
              <a:t>heutigen Bürgergasse </a:t>
            </a:r>
          </a:p>
        </p:txBody>
      </p:sp>
      <p:cxnSp>
        <p:nvCxnSpPr>
          <p:cNvPr id="29" name="Gerade Verbindung 59">
            <a:extLst>
              <a:ext uri="{FF2B5EF4-FFF2-40B4-BE49-F238E27FC236}">
                <a16:creationId xmlns:a16="http://schemas.microsoft.com/office/drawing/2014/main" id="{664A84F9-CEA1-8420-0D13-888F5E57E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591397" y="2301240"/>
            <a:ext cx="0" cy="270785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59">
            <a:extLst>
              <a:ext uri="{FF2B5EF4-FFF2-40B4-BE49-F238E27FC236}">
                <a16:creationId xmlns:a16="http://schemas.microsoft.com/office/drawing/2014/main" id="{733F9609-E30C-BA69-8BCF-6B7F4AD89B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11700" y="2935282"/>
            <a:ext cx="0" cy="360000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A5382CA0-1D1F-5F96-3EF8-E9BC15E37C32}"/>
              </a:ext>
            </a:extLst>
          </p:cNvPr>
          <p:cNvSpPr txBox="1"/>
          <p:nvPr/>
        </p:nvSpPr>
        <p:spPr>
          <a:xfrm>
            <a:off x="3954783" y="3451500"/>
            <a:ext cx="1390630" cy="113877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de-AT" sz="1400" dirty="0">
                <a:solidFill>
                  <a:srgbClr val="000000"/>
                </a:solidFill>
                <a:latin typeface="Nunito Sans ExtraBold"/>
              </a:rPr>
              <a:t>1938</a:t>
            </a:r>
            <a:br>
              <a:rPr lang="de-AT" sz="1400" dirty="0">
                <a:solidFill>
                  <a:srgbClr val="000000"/>
                </a:solidFill>
                <a:latin typeface="Nunito Sans ExtraBold"/>
              </a:rPr>
            </a:br>
            <a:r>
              <a:rPr lang="de-AT" sz="1000" dirty="0">
                <a:solidFill>
                  <a:srgbClr val="000000"/>
                </a:solidFill>
              </a:rPr>
              <a:t>Ein Drittel der Studieren-den sowie die Nobel-</a:t>
            </a:r>
            <a:r>
              <a:rPr lang="de-AT" sz="1000" dirty="0" err="1">
                <a:solidFill>
                  <a:srgbClr val="000000"/>
                </a:solidFill>
              </a:rPr>
              <a:t>preisträger</a:t>
            </a:r>
            <a:r>
              <a:rPr lang="de-AT" sz="1000" dirty="0">
                <a:solidFill>
                  <a:srgbClr val="000000"/>
                </a:solidFill>
              </a:rPr>
              <a:t> Otto Loewi, Victor Franz Hess und Erwin Schrödinger werden vertrieben</a:t>
            </a:r>
          </a:p>
        </p:txBody>
      </p:sp>
      <p:sp>
        <p:nvSpPr>
          <p:cNvPr id="52" name="Oval 58">
            <a:extLst>
              <a:ext uri="{FF2B5EF4-FFF2-40B4-BE49-F238E27FC236}">
                <a16:creationId xmlns:a16="http://schemas.microsoft.com/office/drawing/2014/main" id="{E17718A4-9115-BE16-FB36-B24DD48EF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879898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54" name="Oval 58">
            <a:extLst>
              <a:ext uri="{FF2B5EF4-FFF2-40B4-BE49-F238E27FC236}">
                <a16:creationId xmlns:a16="http://schemas.microsoft.com/office/drawing/2014/main" id="{9D7558F6-10A0-9634-1C52-30226CF063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136100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cxnSp>
        <p:nvCxnSpPr>
          <p:cNvPr id="55" name="Gerade Verbindung 59">
            <a:extLst>
              <a:ext uri="{FF2B5EF4-FFF2-40B4-BE49-F238E27FC236}">
                <a16:creationId xmlns:a16="http://schemas.microsoft.com/office/drawing/2014/main" id="{41B8B64C-0367-5274-D786-64D732DAD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899364" y="2935282"/>
            <a:ext cx="0" cy="360000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457C2EE6-07A8-17AB-13F2-C463615373A1}"/>
              </a:ext>
            </a:extLst>
          </p:cNvPr>
          <p:cNvSpPr txBox="1"/>
          <p:nvPr/>
        </p:nvSpPr>
        <p:spPr>
          <a:xfrm>
            <a:off x="2565625" y="3451500"/>
            <a:ext cx="1122456" cy="830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de-AT" sz="1400" dirty="0">
                <a:solidFill>
                  <a:srgbClr val="000000"/>
                </a:solidFill>
                <a:latin typeface="Nunito Sans ExtraBold"/>
              </a:rPr>
              <a:t>1895</a:t>
            </a:r>
            <a:br>
              <a:rPr lang="de-AT" sz="1400" dirty="0">
                <a:solidFill>
                  <a:srgbClr val="000000"/>
                </a:solidFill>
                <a:latin typeface="Nunito Sans ExtraBold"/>
              </a:rPr>
            </a:br>
            <a:r>
              <a:rPr lang="de-AT" sz="1000" dirty="0">
                <a:solidFill>
                  <a:srgbClr val="000000"/>
                </a:solidFill>
              </a:rPr>
              <a:t>Eröffnung des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neuen Haupt-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 err="1">
                <a:solidFill>
                  <a:srgbClr val="000000"/>
                </a:solidFill>
              </a:rPr>
              <a:t>gebäudes</a:t>
            </a:r>
            <a:r>
              <a:rPr lang="de-AT" sz="1000" dirty="0">
                <a:solidFill>
                  <a:srgbClr val="000000"/>
                </a:solidFill>
              </a:rPr>
              <a:t> durch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Kaiser Franz Josef I.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D730ACC-42F4-0F7C-22F8-7F87919A3194}"/>
              </a:ext>
            </a:extLst>
          </p:cNvPr>
          <p:cNvSpPr txBox="1"/>
          <p:nvPr/>
        </p:nvSpPr>
        <p:spPr>
          <a:xfrm>
            <a:off x="3261391" y="1339939"/>
            <a:ext cx="868649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de-AT" sz="1400" dirty="0">
                <a:solidFill>
                  <a:srgbClr val="000000"/>
                </a:solidFill>
                <a:latin typeface="Nunito Sans ExtraBold"/>
              </a:rPr>
              <a:t>1897</a:t>
            </a:r>
            <a:br>
              <a:rPr lang="de-AT" sz="1400" dirty="0">
                <a:solidFill>
                  <a:srgbClr val="000000"/>
                </a:solidFill>
                <a:latin typeface="Nunito Sans ExtraBold"/>
              </a:rPr>
            </a:br>
            <a:r>
              <a:rPr lang="de-AT" sz="1000" dirty="0">
                <a:solidFill>
                  <a:srgbClr val="000000"/>
                </a:solidFill>
              </a:rPr>
              <a:t>Zulassung 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von Frauen 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als Hörerinnen </a:t>
            </a:r>
          </a:p>
        </p:txBody>
      </p:sp>
      <p:cxnSp>
        <p:nvCxnSpPr>
          <p:cNvPr id="58" name="Gerade Verbindung 59">
            <a:extLst>
              <a:ext uri="{FF2B5EF4-FFF2-40B4-BE49-F238E27FC236}">
                <a16:creationId xmlns:a16="http://schemas.microsoft.com/office/drawing/2014/main" id="{C1F3AB1A-1547-C8FB-1E59-13C4072745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627922" y="2103120"/>
            <a:ext cx="0" cy="627407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F131F6C7-E23D-4F09-374D-BEFBD214D12A}"/>
              </a:ext>
            </a:extLst>
          </p:cNvPr>
          <p:cNvSpPr txBox="1"/>
          <p:nvPr/>
        </p:nvSpPr>
        <p:spPr>
          <a:xfrm>
            <a:off x="1799927" y="1339939"/>
            <a:ext cx="1785921" cy="830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de-AT" sz="1400" dirty="0">
                <a:solidFill>
                  <a:srgbClr val="000000"/>
                </a:solidFill>
                <a:latin typeface="Nunito Sans ExtraBold"/>
              </a:rPr>
              <a:t>1872</a:t>
            </a:r>
            <a:br>
              <a:rPr lang="de-AT" sz="1400" dirty="0">
                <a:solidFill>
                  <a:srgbClr val="000000"/>
                </a:solidFill>
                <a:latin typeface="Nunito Sans ExtraBold"/>
              </a:rPr>
            </a:br>
            <a:r>
              <a:rPr lang="de-AT" sz="1000" dirty="0">
                <a:solidFill>
                  <a:srgbClr val="000000"/>
                </a:solidFill>
              </a:rPr>
              <a:t>Beginn der 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Universitäts-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Neubauten</a:t>
            </a:r>
            <a:br>
              <a:rPr lang="de-AT" sz="1000" dirty="0">
                <a:solidFill>
                  <a:srgbClr val="000000"/>
                </a:solidFill>
              </a:rPr>
            </a:br>
            <a:r>
              <a:rPr lang="de-AT" sz="1000" dirty="0">
                <a:solidFill>
                  <a:srgbClr val="000000"/>
                </a:solidFill>
              </a:rPr>
              <a:t>im </a:t>
            </a:r>
            <a:r>
              <a:rPr lang="de-AT" sz="1000" dirty="0" err="1">
                <a:solidFill>
                  <a:srgbClr val="000000"/>
                </a:solidFill>
              </a:rPr>
              <a:t>Geidorfviertel</a:t>
            </a:r>
            <a:endParaRPr lang="de-AT" sz="1000" dirty="0">
              <a:solidFill>
                <a:srgbClr val="000000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EEB56B2-6928-B5A5-8EB9-AFD2B6642670}"/>
              </a:ext>
            </a:extLst>
          </p:cNvPr>
          <p:cNvSpPr txBox="1"/>
          <p:nvPr/>
        </p:nvSpPr>
        <p:spPr>
          <a:xfrm>
            <a:off x="4530968" y="1339939"/>
            <a:ext cx="1097559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de-AT" sz="1400" dirty="0">
                <a:solidFill>
                  <a:srgbClr val="000000"/>
                </a:solidFill>
                <a:latin typeface="Nunito Sans ExtraBold"/>
              </a:rPr>
              <a:t>1945</a:t>
            </a:r>
            <a:br>
              <a:rPr lang="de-AT" sz="1400" dirty="0">
                <a:solidFill>
                  <a:srgbClr val="000000"/>
                </a:solidFill>
                <a:latin typeface="Nunito Sans ExtraBold"/>
              </a:rPr>
            </a:br>
            <a:r>
              <a:rPr lang="de-DE" sz="1000" dirty="0">
                <a:solidFill>
                  <a:srgbClr val="000000"/>
                </a:solidFill>
              </a:rPr>
              <a:t>Gründung und Entwicklung der Österreichischen HochschülerInnen-</a:t>
            </a:r>
            <a:r>
              <a:rPr lang="de-DE" sz="1000" dirty="0" err="1">
                <a:solidFill>
                  <a:srgbClr val="000000"/>
                </a:solidFill>
              </a:rPr>
              <a:t>schaft</a:t>
            </a:r>
            <a:r>
              <a:rPr lang="de-DE" sz="1000" dirty="0">
                <a:solidFill>
                  <a:srgbClr val="000000"/>
                </a:solidFill>
              </a:rPr>
              <a:t> (ÖH) in Graz</a:t>
            </a:r>
            <a:endParaRPr lang="de-AT" sz="1000" dirty="0">
              <a:solidFill>
                <a:srgbClr val="000000"/>
              </a:solidFill>
            </a:endParaRPr>
          </a:p>
        </p:txBody>
      </p:sp>
      <p:cxnSp>
        <p:nvCxnSpPr>
          <p:cNvPr id="18" name="Gerade Verbindung 59">
            <a:extLst>
              <a:ext uri="{FF2B5EF4-FFF2-40B4-BE49-F238E27FC236}">
                <a16:creationId xmlns:a16="http://schemas.microsoft.com/office/drawing/2014/main" id="{A644021F-AB34-3F4F-8C4B-4CDC2E06E4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760256" y="2935282"/>
            <a:ext cx="0" cy="360000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27198613-5F61-1C4A-DD8B-7157F2AE77D8}"/>
              </a:ext>
            </a:extLst>
          </p:cNvPr>
          <p:cNvSpPr txBox="1"/>
          <p:nvPr/>
        </p:nvSpPr>
        <p:spPr>
          <a:xfrm>
            <a:off x="5612547" y="3451500"/>
            <a:ext cx="1161633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  <a:t>1975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Neues Universitäts-</a:t>
            </a:r>
            <a:b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gesetz</a:t>
            </a: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, ab jetzt gibt </a:t>
            </a:r>
            <a:b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es sechs Fakultäten </a:t>
            </a:r>
          </a:p>
        </p:txBody>
      </p:sp>
      <p:sp>
        <p:nvSpPr>
          <p:cNvPr id="20" name="Oval 58">
            <a:extLst>
              <a:ext uri="{FF2B5EF4-FFF2-40B4-BE49-F238E27FC236}">
                <a16:creationId xmlns:a16="http://schemas.microsoft.com/office/drawing/2014/main" id="{00234FB3-BF4D-F311-CE62-EA16F6751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684656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1" name="Oval 58">
            <a:extLst>
              <a:ext uri="{FF2B5EF4-FFF2-40B4-BE49-F238E27FC236}">
                <a16:creationId xmlns:a16="http://schemas.microsoft.com/office/drawing/2014/main" id="{0D89C6CD-8C6D-8C82-2398-E7C1E27E4B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66554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5C85101-E7ED-DB53-BFCE-6282DA703766}"/>
              </a:ext>
            </a:extLst>
          </p:cNvPr>
          <p:cNvSpPr txBox="1"/>
          <p:nvPr/>
        </p:nvSpPr>
        <p:spPr>
          <a:xfrm>
            <a:off x="6004516" y="1339939"/>
            <a:ext cx="1190593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  <a:t>2004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Ausgliederung der Medizinischen Fakultät, Gründung der Medizinischen Universität</a:t>
            </a:r>
          </a:p>
        </p:txBody>
      </p:sp>
      <p:cxnSp>
        <p:nvCxnSpPr>
          <p:cNvPr id="23" name="Gerade Verbindung 59">
            <a:extLst>
              <a:ext uri="{FF2B5EF4-FFF2-40B4-BE49-F238E27FC236}">
                <a16:creationId xmlns:a16="http://schemas.microsoft.com/office/drawing/2014/main" id="{CF1AD3BC-80B0-75C8-ED47-1628BD8B6E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542154" y="2430780"/>
            <a:ext cx="0" cy="299747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59">
            <a:extLst>
              <a:ext uri="{FF2B5EF4-FFF2-40B4-BE49-F238E27FC236}">
                <a16:creationId xmlns:a16="http://schemas.microsoft.com/office/drawing/2014/main" id="{546FD75E-5628-B5EC-02B7-331CAB7318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270712" y="2935282"/>
            <a:ext cx="0" cy="360000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06D24911-03AD-EB6C-F337-5D0BD3B915EA}"/>
              </a:ext>
            </a:extLst>
          </p:cNvPr>
          <p:cNvSpPr txBox="1"/>
          <p:nvPr/>
        </p:nvSpPr>
        <p:spPr>
          <a:xfrm>
            <a:off x="7071795" y="3451500"/>
            <a:ext cx="1703746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  <a:t>2023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30.000 Studierende, </a:t>
            </a:r>
            <a:b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3.000 Forschende,</a:t>
            </a:r>
            <a:b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</a:b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4.600 Mitarbeitende </a:t>
            </a:r>
          </a:p>
        </p:txBody>
      </p:sp>
      <p:sp>
        <p:nvSpPr>
          <p:cNvPr id="27" name="Oval 58">
            <a:extLst>
              <a:ext uri="{FF2B5EF4-FFF2-40B4-BE49-F238E27FC236}">
                <a16:creationId xmlns:a16="http://schemas.microsoft.com/office/drawing/2014/main" id="{36199C29-5313-12A1-A420-0BEBE208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195112" y="2741495"/>
            <a:ext cx="151200" cy="14923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01BF039-BC39-5AB1-E7A3-A7ED557AE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923668" y="2629019"/>
            <a:ext cx="395786" cy="383018"/>
            <a:chOff x="5566142" y="2459344"/>
            <a:chExt cx="395786" cy="383018"/>
          </a:xfrm>
        </p:grpSpPr>
        <p:sp>
          <p:nvSpPr>
            <p:cNvPr id="30" name="Oval 54">
              <a:extLst>
                <a:ext uri="{FF2B5EF4-FFF2-40B4-BE49-F238E27FC236}">
                  <a16:creationId xmlns:a16="http://schemas.microsoft.com/office/drawing/2014/main" id="{656C254A-7DFF-7326-835B-D348B99727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71035" y="2560852"/>
              <a:ext cx="186000" cy="18000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666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  <p:sp>
          <p:nvSpPr>
            <p:cNvPr id="33" name="Oval 24">
              <a:extLst>
                <a:ext uri="{FF2B5EF4-FFF2-40B4-BE49-F238E27FC236}">
                  <a16:creationId xmlns:a16="http://schemas.microsoft.com/office/drawing/2014/main" id="{5BC2B6F1-26B3-6822-318D-3C751396834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66142" y="2459344"/>
              <a:ext cx="395786" cy="383018"/>
            </a:xfrm>
            <a:prstGeom prst="ellipse">
              <a:avLst/>
            </a:prstGeom>
            <a:solidFill>
              <a:schemeClr val="accent1">
                <a:alpha val="63000"/>
              </a:schemeClr>
            </a:solidFill>
            <a:ln w="666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2FFAF95D-A3A1-0973-30F1-F13430DF3FAE}"/>
              </a:ext>
            </a:extLst>
          </p:cNvPr>
          <p:cNvSpPr txBox="1"/>
          <p:nvPr/>
        </p:nvSpPr>
        <p:spPr>
          <a:xfrm>
            <a:off x="7791570" y="1339939"/>
            <a:ext cx="1101606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ExtraBold"/>
                <a:ea typeface="+mn-ea"/>
                <a:cs typeface="+mn-cs"/>
              </a:rPr>
              <a:t>Heu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+mn-ea"/>
                <a:cs typeface="+mn-cs"/>
              </a:rPr>
              <a:t>Universität Graz –Arbeitsplatz der Zukunft</a:t>
            </a:r>
          </a:p>
        </p:txBody>
      </p:sp>
      <p:cxnSp>
        <p:nvCxnSpPr>
          <p:cNvPr id="39" name="Gerade Verbindung 59">
            <a:extLst>
              <a:ext uri="{FF2B5EF4-FFF2-40B4-BE49-F238E27FC236}">
                <a16:creationId xmlns:a16="http://schemas.microsoft.com/office/drawing/2014/main" id="{85CADE3B-08BB-3C13-A43B-DF057F210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121561" y="2125980"/>
            <a:ext cx="0" cy="446045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59">
            <a:extLst>
              <a:ext uri="{FF2B5EF4-FFF2-40B4-BE49-F238E27FC236}">
                <a16:creationId xmlns:a16="http://schemas.microsoft.com/office/drawing/2014/main" id="{EE97E5CC-9E9F-7828-B845-9D53D370F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4955498" y="2430780"/>
            <a:ext cx="0" cy="299747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59">
            <a:extLst>
              <a:ext uri="{FF2B5EF4-FFF2-40B4-BE49-F238E27FC236}">
                <a16:creationId xmlns:a16="http://schemas.microsoft.com/office/drawing/2014/main" id="{52CCEC4A-9A58-81AC-E7EA-E05BB29712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2170806" y="2278380"/>
            <a:ext cx="0" cy="452147"/>
          </a:xfrm>
          <a:prstGeom prst="line">
            <a:avLst/>
          </a:prstGeom>
          <a:ln w="12700">
            <a:solidFill>
              <a:schemeClr val="bg1">
                <a:lumMod val="50000"/>
                <a:alpha val="8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Grafik 62">
            <a:extLst>
              <a:ext uri="{FF2B5EF4-FFF2-40B4-BE49-F238E27FC236}">
                <a16:creationId xmlns:a16="http://schemas.microsoft.com/office/drawing/2014/main" id="{EE89B654-AC59-20B4-7077-2FBF6E4F38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41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AA27A2-A3DA-AB41-2387-27A61FA5D6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87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AA27A2-A3DA-AB41-2387-27A61FA5D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rafik 38">
            <a:extLst>
              <a:ext uri="{FF2B5EF4-FFF2-40B4-BE49-F238E27FC236}">
                <a16:creationId xmlns:a16="http://schemas.microsoft.com/office/drawing/2014/main" id="{EB5F64BE-2A1C-3AD8-C7ED-66D869C3F1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63" r="42500"/>
          <a:stretch>
            <a:fillRect/>
          </a:stretch>
        </p:blipFill>
        <p:spPr>
          <a:xfrm>
            <a:off x="1476532" y="0"/>
            <a:ext cx="3609819" cy="5143500"/>
          </a:xfrm>
          <a:custGeom>
            <a:avLst/>
            <a:gdLst>
              <a:gd name="connsiteX0" fmla="*/ 1043960 w 3609819"/>
              <a:gd name="connsiteY0" fmla="*/ 0 h 5143500"/>
              <a:gd name="connsiteX1" fmla="*/ 3609819 w 3609819"/>
              <a:gd name="connsiteY1" fmla="*/ 0 h 5143500"/>
              <a:gd name="connsiteX2" fmla="*/ 2565859 w 3609819"/>
              <a:gd name="connsiteY2" fmla="*/ 5143500 h 5143500"/>
              <a:gd name="connsiteX3" fmla="*/ 0 w 3609819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9819" h="5143500">
                <a:moveTo>
                  <a:pt x="1043960" y="0"/>
                </a:moveTo>
                <a:lnTo>
                  <a:pt x="3609819" y="0"/>
                </a:lnTo>
                <a:lnTo>
                  <a:pt x="2565859" y="5143500"/>
                </a:lnTo>
                <a:lnTo>
                  <a:pt x="0" y="5143500"/>
                </a:lnTo>
                <a:close/>
              </a:path>
            </a:pathLst>
          </a:cu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17757FD2-4F15-EFD2-3E1D-33E019DBFC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40" r="680"/>
          <a:stretch>
            <a:fillRect/>
          </a:stretch>
        </p:blipFill>
        <p:spPr>
          <a:xfrm>
            <a:off x="6586141" y="0"/>
            <a:ext cx="3600450" cy="5143500"/>
          </a:xfrm>
          <a:custGeom>
            <a:avLst/>
            <a:gdLst>
              <a:gd name="connsiteX0" fmla="*/ 1041250 w 3600450"/>
              <a:gd name="connsiteY0" fmla="*/ 0 h 5143500"/>
              <a:gd name="connsiteX1" fmla="*/ 3600450 w 3600450"/>
              <a:gd name="connsiteY1" fmla="*/ 0 h 5143500"/>
              <a:gd name="connsiteX2" fmla="*/ 2559200 w 3600450"/>
              <a:gd name="connsiteY2" fmla="*/ 5143500 h 5143500"/>
              <a:gd name="connsiteX3" fmla="*/ 0 w 360045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450" h="5143500">
                <a:moveTo>
                  <a:pt x="1041250" y="0"/>
                </a:moveTo>
                <a:lnTo>
                  <a:pt x="3600450" y="0"/>
                </a:lnTo>
                <a:lnTo>
                  <a:pt x="25592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8C620A42-CD80-EE17-D25B-60E256C3DA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2" r="43992"/>
          <a:stretch>
            <a:fillRect/>
          </a:stretch>
        </p:blipFill>
        <p:spPr>
          <a:xfrm>
            <a:off x="4032250" y="0"/>
            <a:ext cx="3600450" cy="5143500"/>
          </a:xfrm>
          <a:custGeom>
            <a:avLst/>
            <a:gdLst>
              <a:gd name="connsiteX0" fmla="*/ 1041250 w 3600450"/>
              <a:gd name="connsiteY0" fmla="*/ 0 h 5143500"/>
              <a:gd name="connsiteX1" fmla="*/ 3600450 w 3600450"/>
              <a:gd name="connsiteY1" fmla="*/ 0 h 5143500"/>
              <a:gd name="connsiteX2" fmla="*/ 2559200 w 3600450"/>
              <a:gd name="connsiteY2" fmla="*/ 5143500 h 5143500"/>
              <a:gd name="connsiteX3" fmla="*/ 0 w 360045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450" h="5143500">
                <a:moveTo>
                  <a:pt x="1041250" y="0"/>
                </a:moveTo>
                <a:lnTo>
                  <a:pt x="3600450" y="0"/>
                </a:lnTo>
                <a:lnTo>
                  <a:pt x="25592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426E343C-99B7-0B2D-C5BC-B51A03C6362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076325" y="0"/>
            <a:ext cx="3600450" cy="5143500"/>
          </a:xfrm>
          <a:custGeom>
            <a:avLst/>
            <a:gdLst>
              <a:gd name="connsiteX0" fmla="*/ 1041250 w 3600450"/>
              <a:gd name="connsiteY0" fmla="*/ 0 h 5143500"/>
              <a:gd name="connsiteX1" fmla="*/ 3600450 w 3600450"/>
              <a:gd name="connsiteY1" fmla="*/ 0 h 5143500"/>
              <a:gd name="connsiteX2" fmla="*/ 2559200 w 3600450"/>
              <a:gd name="connsiteY2" fmla="*/ 5143500 h 5143500"/>
              <a:gd name="connsiteX3" fmla="*/ 0 w 3600450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450" h="5143500">
                <a:moveTo>
                  <a:pt x="1041250" y="0"/>
                </a:moveTo>
                <a:lnTo>
                  <a:pt x="3600450" y="0"/>
                </a:lnTo>
                <a:lnTo>
                  <a:pt x="25592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8847C1E5-7EC3-CF5A-4871-8BF66A0083CF}"/>
              </a:ext>
            </a:extLst>
          </p:cNvPr>
          <p:cNvSpPr/>
          <p:nvPr/>
        </p:nvSpPr>
        <p:spPr>
          <a:xfrm>
            <a:off x="-1" y="0"/>
            <a:ext cx="9144001" cy="4546600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9417C-1F0A-691E-9F56-B60627F12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Unsere Forschungstradition trifft </a:t>
            </a:r>
            <a:br>
              <a:rPr lang="de-AT" noProof="0" dirty="0"/>
            </a:br>
            <a:r>
              <a:rPr lang="de-AT" noProof="0" dirty="0"/>
              <a:t>auf neue Herausforderungen</a:t>
            </a:r>
            <a:br>
              <a:rPr lang="de-AT" noProof="0" dirty="0"/>
            </a:br>
            <a:endParaRPr lang="de-AT" noProof="0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18FBF97D-BF40-78FE-5D76-2BA703BCDE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4ACB840F-2EB9-8E90-03FD-EC381A10CBD0}"/>
              </a:ext>
            </a:extLst>
          </p:cNvPr>
          <p:cNvSpPr txBox="1">
            <a:spLocks/>
          </p:cNvSpPr>
          <p:nvPr/>
        </p:nvSpPr>
        <p:spPr>
          <a:xfrm>
            <a:off x="310306" y="1656318"/>
            <a:ext cx="1457130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Klimawandel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F53F605-E6A5-E267-1E64-83EC6E4CE1C8}"/>
              </a:ext>
            </a:extLst>
          </p:cNvPr>
          <p:cNvSpPr txBox="1">
            <a:spLocks/>
          </p:cNvSpPr>
          <p:nvPr/>
        </p:nvSpPr>
        <p:spPr>
          <a:xfrm>
            <a:off x="4243961" y="2331640"/>
            <a:ext cx="1665521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Altersbedingte</a:t>
            </a:r>
            <a:br>
              <a:rPr lang="de-AT" sz="2000" dirty="0"/>
            </a:br>
            <a:r>
              <a:rPr lang="de-AT" sz="2000" dirty="0"/>
              <a:t>Krankh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8E60B428-1B73-795D-5B14-4EA8D2E7DA21}"/>
              </a:ext>
            </a:extLst>
          </p:cNvPr>
          <p:cNvSpPr txBox="1">
            <a:spLocks/>
          </p:cNvSpPr>
          <p:nvPr/>
        </p:nvSpPr>
        <p:spPr>
          <a:xfrm>
            <a:off x="3294141" y="1471652"/>
            <a:ext cx="1163780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Künstliche</a:t>
            </a:r>
            <a:br>
              <a:rPr lang="de-AT" sz="2000" dirty="0"/>
            </a:br>
            <a:r>
              <a:rPr lang="de-AT" sz="2000" dirty="0"/>
              <a:t>Intelligenz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0700A89F-D889-7A82-8F25-DA1ED01EDF2C}"/>
              </a:ext>
            </a:extLst>
          </p:cNvPr>
          <p:cNvSpPr txBox="1">
            <a:spLocks/>
          </p:cNvSpPr>
          <p:nvPr/>
        </p:nvSpPr>
        <p:spPr>
          <a:xfrm>
            <a:off x="7341642" y="2405055"/>
            <a:ext cx="1065997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Migratio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E9A11FA4-B3CD-DA8A-643B-8A036AFEAF7F}"/>
              </a:ext>
            </a:extLst>
          </p:cNvPr>
          <p:cNvSpPr txBox="1">
            <a:spLocks/>
          </p:cNvSpPr>
          <p:nvPr/>
        </p:nvSpPr>
        <p:spPr>
          <a:xfrm>
            <a:off x="6005199" y="1572736"/>
            <a:ext cx="1893147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Gesellschaftliche</a:t>
            </a:r>
            <a:br>
              <a:rPr lang="de-AT" sz="2000" dirty="0"/>
            </a:br>
            <a:r>
              <a:rPr lang="de-AT" sz="2000" dirty="0"/>
              <a:t>Polarisierung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0FDDAFE6-A789-84A3-1760-47BCA2CB06A2}"/>
              </a:ext>
            </a:extLst>
          </p:cNvPr>
          <p:cNvSpPr txBox="1">
            <a:spLocks/>
          </p:cNvSpPr>
          <p:nvPr/>
        </p:nvSpPr>
        <p:spPr>
          <a:xfrm>
            <a:off x="1503544" y="2202417"/>
            <a:ext cx="1405834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/>
              <a:t>Demokratie-</a:t>
            </a:r>
            <a:br>
              <a:rPr lang="de-AT" sz="2000" dirty="0"/>
            </a:br>
            <a:r>
              <a:rPr lang="de-AT" sz="2000" dirty="0" err="1"/>
              <a:t>feindlichkeit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249610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01F508-55CA-C72C-E445-2B4E73F8C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60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01F508-55CA-C72C-E445-2B4E73F8C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0" name="Picture 6" descr="IDea_Lab Universität Graz - IDea_Lab">
            <a:extLst>
              <a:ext uri="{FF2B5EF4-FFF2-40B4-BE49-F238E27FC236}">
                <a16:creationId xmlns:a16="http://schemas.microsoft.com/office/drawing/2014/main" id="{A2A88B43-7C99-FB20-7E6C-1FF926856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7" r="21824" b="19340"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D68E16-2F10-E7BA-290F-81ED2B1A3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Wir antworten mit Wissenschaft</a:t>
            </a:r>
            <a:br>
              <a:rPr lang="de-AT" noProof="0" dirty="0"/>
            </a:br>
            <a:r>
              <a:rPr lang="de-AT" noProof="0" dirty="0"/>
              <a:t>für die Welt von mor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113B1D-3CC8-1DF0-1D7E-1D17E54FF4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22904" y="1617028"/>
            <a:ext cx="2979983" cy="553998"/>
          </a:xfr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de-AT" sz="2000" noProof="0" dirty="0">
                <a:latin typeface="+mj-lt"/>
              </a:rPr>
              <a:t>Wegener Center</a:t>
            </a:r>
            <a:br>
              <a:rPr lang="de-AT" sz="2000" dirty="0"/>
            </a:br>
            <a:r>
              <a:rPr lang="de-AT" sz="1600" noProof="0" dirty="0"/>
              <a:t>Globale Klimaforschung aus Graz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28ECFAF-6701-09D5-67AA-CC471D72B1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2A007AE-294D-50F3-F717-2EF7D0E61C57}"/>
              </a:ext>
            </a:extLst>
          </p:cNvPr>
          <p:cNvSpPr txBox="1">
            <a:spLocks/>
          </p:cNvSpPr>
          <p:nvPr/>
        </p:nvSpPr>
        <p:spPr>
          <a:xfrm>
            <a:off x="1022904" y="2437322"/>
            <a:ext cx="3116238" cy="80021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 err="1">
                <a:latin typeface="+mj-lt"/>
              </a:rPr>
              <a:t>IDea_Lab</a:t>
            </a:r>
            <a:br>
              <a:rPr lang="de-AT" sz="2000" dirty="0"/>
            </a:br>
            <a:r>
              <a:rPr lang="de-AT" sz="1600" dirty="0"/>
              <a:t>Vernetzt Wissenschaft, Wirtschaft</a:t>
            </a:r>
            <a:br>
              <a:rPr lang="de-AT" sz="1600" dirty="0"/>
            </a:br>
            <a:r>
              <a:rPr lang="de-AT" sz="1600" dirty="0"/>
              <a:t>und Gesellschaft 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BFD9376-7462-55EE-3914-C4843A375CDE}"/>
              </a:ext>
            </a:extLst>
          </p:cNvPr>
          <p:cNvSpPr txBox="1">
            <a:spLocks/>
          </p:cNvSpPr>
          <p:nvPr/>
        </p:nvSpPr>
        <p:spPr>
          <a:xfrm>
            <a:off x="1022904" y="3503837"/>
            <a:ext cx="2553584" cy="80021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000" dirty="0">
                <a:latin typeface="+mj-lt"/>
              </a:rPr>
              <a:t>CIRAC</a:t>
            </a:r>
            <a:br>
              <a:rPr lang="de-AT" sz="2000" dirty="0"/>
            </a:br>
            <a:r>
              <a:rPr lang="de-AT" sz="1600" dirty="0"/>
              <a:t>International anerkanntes</a:t>
            </a:r>
            <a:br>
              <a:rPr lang="de-AT" sz="1600" dirty="0"/>
            </a:br>
            <a:r>
              <a:rPr lang="de-AT" sz="1600" dirty="0"/>
              <a:t>Zentrum für Altersforschung</a:t>
            </a:r>
          </a:p>
        </p:txBody>
      </p:sp>
    </p:spTree>
    <p:extLst>
      <p:ext uri="{BB962C8B-B14F-4D97-AF65-F5344CB8AC3E}">
        <p14:creationId xmlns:p14="http://schemas.microsoft.com/office/powerpoint/2010/main" val="1557451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22D13F-EACF-989B-9280-95D41E894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53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22D13F-EACF-989B-9280-95D41E894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5FB79997-4C2A-F40B-63FA-5437D394ED0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-1"/>
            <a:ext cx="9144001" cy="51435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8859009-081B-EE8D-C470-816AFD36A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62" y="2812478"/>
            <a:ext cx="3333352" cy="1876362"/>
          </a:xfrm>
        </p:spPr>
        <p:txBody>
          <a:bodyPr vert="horz"/>
          <a:lstStyle/>
          <a:p>
            <a:r>
              <a:rPr lang="de-AT" sz="2800" noProof="0" dirty="0"/>
              <a:t>Großen globalen Veränderungen begegnen wir mit internationaler Spitzenforschung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9B58DB68-22F1-36B0-A1D9-0AAE722F4E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B297243D-54E4-B5A5-33AD-501FE616548A}"/>
              </a:ext>
            </a:extLst>
          </p:cNvPr>
          <p:cNvSpPr/>
          <p:nvPr/>
        </p:nvSpPr>
        <p:spPr>
          <a:xfrm>
            <a:off x="4792676" y="883724"/>
            <a:ext cx="2057704" cy="11704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3048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0CF3619-B848-D377-6976-F3CEADC81B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57801" y="1365281"/>
            <a:ext cx="3559176" cy="3442481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e-AT" sz="2000" dirty="0">
                <a:latin typeface="+mj-lt"/>
              </a:rPr>
              <a:t>Bahnbrechende Forschungs-projekte mit EU-Förderung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de-AT" noProof="0" dirty="0"/>
              <a:t>11 ERC Grants + 5 EIC Grants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de-AT" sz="2000" noProof="0" dirty="0">
                <a:latin typeface="+mj-lt"/>
              </a:rPr>
              <a:t>Bau von Forschungszentren </a:t>
            </a:r>
            <a:br>
              <a:rPr lang="de-AT" sz="2000" noProof="0" dirty="0">
                <a:latin typeface="+mj-lt"/>
              </a:rPr>
            </a:br>
            <a:r>
              <a:rPr lang="de-AT" sz="2000" noProof="0" dirty="0">
                <a:latin typeface="+mj-lt"/>
              </a:rPr>
              <a:t>mit globalem Impact</a:t>
            </a:r>
          </a:p>
          <a:p>
            <a:pPr>
              <a:lnSpc>
                <a:spcPct val="90000"/>
              </a:lnSpc>
            </a:pPr>
            <a:r>
              <a:rPr lang="de-DE" dirty="0" err="1"/>
              <a:t>Sermilik</a:t>
            </a:r>
            <a:r>
              <a:rPr lang="de-DE" dirty="0"/>
              <a:t>-Forschungsstation in Grönland</a:t>
            </a:r>
          </a:p>
          <a:p>
            <a:pPr>
              <a:lnSpc>
                <a:spcPct val="90000"/>
              </a:lnSpc>
            </a:pPr>
            <a:r>
              <a:rPr lang="de-AT" noProof="0" dirty="0"/>
              <a:t>Cori-Institut für Stoffwechselforschung </a:t>
            </a:r>
          </a:p>
          <a:p>
            <a:pPr>
              <a:lnSpc>
                <a:spcPct val="90000"/>
              </a:lnSpc>
            </a:pPr>
            <a:r>
              <a:rPr lang="de-AT" noProof="0" dirty="0"/>
              <a:t>Graz Center </a:t>
            </a:r>
            <a:r>
              <a:rPr lang="de-AT" noProof="0" dirty="0" err="1"/>
              <a:t>of</a:t>
            </a:r>
            <a:r>
              <a:rPr lang="de-AT" noProof="0" dirty="0"/>
              <a:t> Physics</a:t>
            </a:r>
            <a:endParaRPr lang="de-AT" dirty="0"/>
          </a:p>
          <a:p>
            <a:pPr>
              <a:lnSpc>
                <a:spcPct val="90000"/>
              </a:lnSpc>
            </a:pPr>
            <a:r>
              <a:rPr lang="de-AT" noProof="0" dirty="0"/>
              <a:t>Haus der Bildungswissenschaften</a:t>
            </a:r>
          </a:p>
          <a:p>
            <a:pPr>
              <a:lnSpc>
                <a:spcPct val="90000"/>
              </a:lnSpc>
            </a:pPr>
            <a:r>
              <a:rPr lang="de-AT" noProof="0" dirty="0"/>
              <a:t>Institut für Bewegungswissenschaften, Sport und Gesundheit </a:t>
            </a:r>
          </a:p>
          <a:p>
            <a:pPr marL="0" indent="0">
              <a:lnSpc>
                <a:spcPct val="90000"/>
              </a:lnSpc>
              <a:spcBef>
                <a:spcPts val="300"/>
              </a:spcBef>
              <a:buNone/>
            </a:pPr>
            <a:r>
              <a:rPr lang="de-AT" sz="2000" dirty="0"/>
              <a:t>~</a:t>
            </a:r>
            <a:r>
              <a:rPr lang="de-AT" sz="2000" dirty="0">
                <a:latin typeface="+mj-lt"/>
              </a:rPr>
              <a:t>37 Mio. € Drittmittel 2023</a:t>
            </a:r>
          </a:p>
        </p:txBody>
      </p:sp>
    </p:spTree>
    <p:extLst>
      <p:ext uri="{BB962C8B-B14F-4D97-AF65-F5344CB8AC3E}">
        <p14:creationId xmlns:p14="http://schemas.microsoft.com/office/powerpoint/2010/main" val="42375648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3871B6-DFB1-0EF0-6C20-0F6BCE50AC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8279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3871B6-DFB1-0EF0-6C20-0F6BCE50A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2F77EFAE-1520-7B07-B7E1-FDF74AF3E82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0324" y="0"/>
            <a:ext cx="6543676" cy="514350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0731392-A984-F786-E71F-479A62ED011F}"/>
              </a:ext>
            </a:extLst>
          </p:cNvPr>
          <p:cNvSpPr/>
          <p:nvPr/>
        </p:nvSpPr>
        <p:spPr>
          <a:xfrm>
            <a:off x="2600324" y="0"/>
            <a:ext cx="2171699" cy="51435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6EAAA-7CBB-5ED9-694A-7674AD017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31775"/>
            <a:ext cx="7489825" cy="1289787"/>
          </a:xfrm>
        </p:spPr>
        <p:txBody>
          <a:bodyPr vert="horz"/>
          <a:lstStyle/>
          <a:p>
            <a:r>
              <a:rPr lang="de-AT" noProof="0" dirty="0"/>
              <a:t>Forschung, </a:t>
            </a:r>
            <a:br>
              <a:rPr lang="de-AT" noProof="0" dirty="0"/>
            </a:br>
            <a:r>
              <a:rPr lang="de-AT" noProof="0" dirty="0"/>
              <a:t>die Geschichte </a:t>
            </a:r>
            <a:br>
              <a:rPr lang="de-AT" noProof="0" dirty="0"/>
            </a:br>
            <a:r>
              <a:rPr lang="de-AT" noProof="0" dirty="0"/>
              <a:t>neu schreib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CA210C-B6E9-B115-F837-3F2464A5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862850"/>
            <a:ext cx="2997200" cy="1994776"/>
          </a:xfrm>
        </p:spPr>
        <p:txBody>
          <a:bodyPr/>
          <a:lstStyle/>
          <a:p>
            <a:pPr marL="0" indent="0">
              <a:buNone/>
            </a:pPr>
            <a:r>
              <a:rPr lang="de-AT" sz="2000" noProof="0" dirty="0">
                <a:latin typeface="+mj-lt"/>
              </a:rPr>
              <a:t>Top-Wissenschaft sichtbar gemacht</a:t>
            </a:r>
            <a:endParaRPr lang="de-AT" sz="2000" dirty="0">
              <a:latin typeface="+mj-lt"/>
            </a:endParaRPr>
          </a:p>
          <a:p>
            <a:pPr marL="0" indent="0">
              <a:buNone/>
            </a:pPr>
            <a:r>
              <a:rPr lang="de-AT" sz="2000" dirty="0"/>
              <a:t>Einzigartiger Fund: </a:t>
            </a:r>
            <a:br>
              <a:rPr lang="de-AT" sz="2000" dirty="0"/>
            </a:br>
            <a:r>
              <a:rPr lang="de-AT" sz="2000" dirty="0"/>
              <a:t>Grazer Mumienbuch aus dem 3. Jahrhundert v. Chr.</a:t>
            </a:r>
            <a:endParaRPr lang="de-AT" sz="2000" noProof="0" dirty="0"/>
          </a:p>
          <a:p>
            <a:endParaRPr lang="de-AT" noProof="0" dirty="0"/>
          </a:p>
        </p:txBody>
      </p:sp>
      <p:pic>
        <p:nvPicPr>
          <p:cNvPr id="11" name="Grafik 10">
            <a:hlinkClick r:id="rId7"/>
            <a:extLst>
              <a:ext uri="{FF2B5EF4-FFF2-40B4-BE49-F238E27FC236}">
                <a16:creationId xmlns:a16="http://schemas.microsoft.com/office/drawing/2014/main" id="{6DFF2F8D-37E7-34B0-269F-EB5031B41A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68077" y="4710657"/>
            <a:ext cx="326673" cy="3266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809A40C-AFB9-1C58-0C30-6FDDF7DC3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660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BA5DB39-22DB-D8DF-D2FD-9F863108A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69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A5DB39-22DB-D8DF-D2FD-9F863108A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1CB66D6-B753-05EB-8B92-2DA02EFE2B5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86450" y="1"/>
            <a:ext cx="3257550" cy="51579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9995AFE-09B8-88E4-F480-CADCF70D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Wir gestalten Wandel </a:t>
            </a:r>
            <a:br>
              <a:rPr lang="de-AT" noProof="0" dirty="0"/>
            </a:br>
            <a:r>
              <a:rPr lang="de-AT" noProof="0" dirty="0"/>
              <a:t>aktiv und langfristi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0441CB0-47A9-5F7C-988A-2683DDB90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pic>
        <p:nvPicPr>
          <p:cNvPr id="12" name="Bildplatzhalter 8" descr="Ein Bild, das Text, Screenshot, Grafiken, Rechteck enthält.&#10;&#10;Automatisch generierte Beschreibung">
            <a:extLst>
              <a:ext uri="{FF2B5EF4-FFF2-40B4-BE49-F238E27FC236}">
                <a16:creationId xmlns:a16="http://schemas.microsoft.com/office/drawing/2014/main" id="{324D69CD-D21E-793F-48D1-299BBA8BACF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0100" y="1332065"/>
            <a:ext cx="2046601" cy="934479"/>
          </a:xfrm>
          <a:prstGeom prst="rect">
            <a:avLst/>
          </a:prstGeom>
        </p:spPr>
      </p:pic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719E0F0-7492-2F8C-8019-8C799500642F}"/>
              </a:ext>
            </a:extLst>
          </p:cNvPr>
          <p:cNvSpPr txBox="1">
            <a:spLocks/>
          </p:cNvSpPr>
          <p:nvPr/>
        </p:nvSpPr>
        <p:spPr>
          <a:xfrm>
            <a:off x="700666" y="2343455"/>
            <a:ext cx="4489371" cy="138499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  <a:buFont typeface="Wingdings 3" panose="05040102010807070707" pitchFamily="18" charset="2"/>
              <a:buChar char="Ú"/>
            </a:pPr>
            <a:r>
              <a:rPr lang="de-AT" dirty="0"/>
              <a:t>Klimaneutralität bis 2040</a:t>
            </a:r>
          </a:p>
          <a:p>
            <a:pPr>
              <a:buSzPct val="100000"/>
              <a:buFont typeface="Wingdings 3" panose="05040102010807070707" pitchFamily="18" charset="2"/>
              <a:buChar char="Ú"/>
            </a:pPr>
            <a:r>
              <a:rPr lang="de-AT" dirty="0"/>
              <a:t>Förderung wissenschaftlicher Nachwuchs </a:t>
            </a:r>
          </a:p>
          <a:p>
            <a:pPr>
              <a:buSzPct val="100000"/>
              <a:buFont typeface="Wingdings 3" panose="05040102010807070707" pitchFamily="18" charset="2"/>
              <a:buChar char="Ú"/>
            </a:pPr>
            <a:r>
              <a:rPr lang="de-AT" dirty="0"/>
              <a:t>Mehr Studienabschlüsse möglich machen</a:t>
            </a:r>
          </a:p>
          <a:p>
            <a:pPr>
              <a:buSzPct val="100000"/>
              <a:buFont typeface="Wingdings 3" panose="05040102010807070707" pitchFamily="18" charset="2"/>
              <a:buChar char="Ú"/>
            </a:pPr>
            <a:r>
              <a:rPr lang="de-AT" dirty="0"/>
              <a:t>Einbindung der Gesellschaft: Open Science</a:t>
            </a:r>
          </a:p>
          <a:p>
            <a:pPr>
              <a:buSzPct val="100000"/>
              <a:buFont typeface="Wingdings 3" panose="05040102010807070707" pitchFamily="18" charset="2"/>
              <a:buChar char="Ú"/>
            </a:pPr>
            <a:r>
              <a:rPr lang="de-AT" dirty="0"/>
              <a:t>Forschung auf höchstem Niveau in 5 Profilbereichen: 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6136B07-199F-13FF-C88F-AD34F07C435D}"/>
              </a:ext>
            </a:extLst>
          </p:cNvPr>
          <p:cNvSpPr/>
          <p:nvPr/>
        </p:nvSpPr>
        <p:spPr>
          <a:xfrm>
            <a:off x="1000184" y="3884883"/>
            <a:ext cx="786369" cy="1258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8521C3B-741E-5E2D-0513-0EBAD01BBEE0}"/>
              </a:ext>
            </a:extLst>
          </p:cNvPr>
          <p:cNvSpPr/>
          <p:nvPr/>
        </p:nvSpPr>
        <p:spPr>
          <a:xfrm>
            <a:off x="1834850" y="3884883"/>
            <a:ext cx="786369" cy="1273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B84602E-1281-E748-2E21-CBF2DCD0BE65}"/>
              </a:ext>
            </a:extLst>
          </p:cNvPr>
          <p:cNvSpPr/>
          <p:nvPr/>
        </p:nvSpPr>
        <p:spPr>
          <a:xfrm>
            <a:off x="2669517" y="3884883"/>
            <a:ext cx="786369" cy="1273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13871E4-A193-8CBE-13C3-08BCB00CA90D}"/>
              </a:ext>
            </a:extLst>
          </p:cNvPr>
          <p:cNvSpPr/>
          <p:nvPr/>
        </p:nvSpPr>
        <p:spPr>
          <a:xfrm>
            <a:off x="3504183" y="3884883"/>
            <a:ext cx="786369" cy="1273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61C7868-8ABF-E14C-40CB-EFC4A2A735A0}"/>
              </a:ext>
            </a:extLst>
          </p:cNvPr>
          <p:cNvSpPr/>
          <p:nvPr/>
        </p:nvSpPr>
        <p:spPr>
          <a:xfrm>
            <a:off x="4338847" y="3884883"/>
            <a:ext cx="786369" cy="1258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796941CC-847C-1E93-7D1B-65C73CEEF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12034" y="3958005"/>
            <a:ext cx="432000" cy="432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CA75E4F-289D-17E0-2D06-B1EA0D37D1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46701" y="3951655"/>
            <a:ext cx="432000" cy="432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4C8C53-038B-400C-70FD-617F0D7EA3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77368" y="3945305"/>
            <a:ext cx="432000" cy="432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BA850625-8BAD-FB6F-6802-136BC4E71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516031" y="3951655"/>
            <a:ext cx="432000" cy="432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6DE77C16-897F-2492-0EDA-E45915AF47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681367" y="3951655"/>
            <a:ext cx="432000" cy="432000"/>
          </a:xfrm>
          <a:prstGeom prst="rect">
            <a:avLst/>
          </a:prstGeom>
        </p:spPr>
      </p:pic>
      <p:sp>
        <p:nvSpPr>
          <p:cNvPr id="30" name="Rechteck 29">
            <a:hlinkClick r:id="rId19" action="ppaction://hlinksldjump"/>
            <a:extLst>
              <a:ext uri="{FF2B5EF4-FFF2-40B4-BE49-F238E27FC236}">
                <a16:creationId xmlns:a16="http://schemas.microsoft.com/office/drawing/2014/main" id="{8B990BBD-03B3-C934-8176-8F5F94E62230}"/>
              </a:ext>
            </a:extLst>
          </p:cNvPr>
          <p:cNvSpPr/>
          <p:nvPr/>
        </p:nvSpPr>
        <p:spPr>
          <a:xfrm>
            <a:off x="1000184" y="3884883"/>
            <a:ext cx="786369" cy="1258617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r>
              <a:rPr lang="de-AT" sz="900">
                <a:solidFill>
                  <a:schemeClr val="tx1"/>
                </a:solidFill>
                <a:latin typeface="+mj-lt"/>
              </a:rPr>
              <a:t>Climate</a:t>
            </a:r>
            <a:br>
              <a:rPr lang="de-AT" sz="900">
                <a:solidFill>
                  <a:schemeClr val="tx1"/>
                </a:solidFill>
                <a:latin typeface="+mj-lt"/>
              </a:rPr>
            </a:br>
            <a:r>
              <a:rPr lang="de-AT" sz="900">
                <a:solidFill>
                  <a:schemeClr val="tx1"/>
                </a:solidFill>
                <a:latin typeface="+mj-lt"/>
              </a:rPr>
              <a:t>Change</a:t>
            </a:r>
            <a:br>
              <a:rPr lang="de-AT" sz="900">
                <a:solidFill>
                  <a:schemeClr val="tx1"/>
                </a:solidFill>
                <a:latin typeface="+mj-lt"/>
              </a:rPr>
            </a:br>
            <a:r>
              <a:rPr lang="de-AT" sz="900">
                <a:solidFill>
                  <a:schemeClr val="tx1"/>
                </a:solidFill>
                <a:latin typeface="+mj-lt"/>
              </a:rPr>
              <a:t>Graz</a:t>
            </a:r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Rechteck 30">
            <a:hlinkClick r:id="rId20" action="ppaction://hlinksldjump"/>
            <a:extLst>
              <a:ext uri="{FF2B5EF4-FFF2-40B4-BE49-F238E27FC236}">
                <a16:creationId xmlns:a16="http://schemas.microsoft.com/office/drawing/2014/main" id="{41A2996E-4BA2-AC16-8FC6-F83B2B086F62}"/>
              </a:ext>
            </a:extLst>
          </p:cNvPr>
          <p:cNvSpPr/>
          <p:nvPr/>
        </p:nvSpPr>
        <p:spPr>
          <a:xfrm>
            <a:off x="1834850" y="3884883"/>
            <a:ext cx="786369" cy="127305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r>
              <a:rPr lang="de-AT" sz="900" dirty="0">
                <a:solidFill>
                  <a:schemeClr val="tx1"/>
                </a:solidFill>
                <a:latin typeface="+mj-lt"/>
              </a:rPr>
              <a:t>Bio Health</a:t>
            </a:r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echteck 31">
            <a:hlinkClick r:id="rId21" action="ppaction://hlinksldjump"/>
            <a:extLst>
              <a:ext uri="{FF2B5EF4-FFF2-40B4-BE49-F238E27FC236}">
                <a16:creationId xmlns:a16="http://schemas.microsoft.com/office/drawing/2014/main" id="{6624BE04-114D-E357-C8B5-A1AF4A01719C}"/>
              </a:ext>
            </a:extLst>
          </p:cNvPr>
          <p:cNvSpPr/>
          <p:nvPr/>
        </p:nvSpPr>
        <p:spPr>
          <a:xfrm>
            <a:off x="2669517" y="3884883"/>
            <a:ext cx="786369" cy="127305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r>
              <a:rPr lang="de-AT" sz="900">
                <a:solidFill>
                  <a:schemeClr val="tx1"/>
                </a:solidFill>
                <a:latin typeface="+mj-lt"/>
              </a:rPr>
              <a:t>Smart</a:t>
            </a:r>
            <a:br>
              <a:rPr lang="de-AT" sz="900">
                <a:solidFill>
                  <a:schemeClr val="tx1"/>
                </a:solidFill>
                <a:latin typeface="+mj-lt"/>
              </a:rPr>
            </a:br>
            <a:r>
              <a:rPr lang="de-AT" sz="900">
                <a:solidFill>
                  <a:schemeClr val="tx1"/>
                </a:solidFill>
                <a:latin typeface="+mj-lt"/>
              </a:rPr>
              <a:t>Regulation</a:t>
            </a:r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3A617D2-EE2C-A1AA-8609-E48F860F5370}"/>
              </a:ext>
            </a:extLst>
          </p:cNvPr>
          <p:cNvSpPr/>
          <p:nvPr/>
        </p:nvSpPr>
        <p:spPr>
          <a:xfrm>
            <a:off x="3504183" y="3884883"/>
            <a:ext cx="786369" cy="127305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r>
              <a:rPr lang="de-AT" sz="900" dirty="0" err="1">
                <a:solidFill>
                  <a:schemeClr val="tx1"/>
                </a:solidFill>
                <a:latin typeface="+mj-lt"/>
              </a:rPr>
              <a:t>Complexity</a:t>
            </a:r>
            <a:br>
              <a:rPr lang="de-AT" sz="900" dirty="0">
                <a:solidFill>
                  <a:schemeClr val="tx1"/>
                </a:solidFill>
                <a:latin typeface="+mj-lt"/>
              </a:rPr>
            </a:br>
            <a:r>
              <a:rPr lang="de-AT" sz="900" dirty="0" err="1">
                <a:solidFill>
                  <a:schemeClr val="tx1"/>
                </a:solidFill>
                <a:latin typeface="+mj-lt"/>
              </a:rPr>
              <a:t>of</a:t>
            </a:r>
            <a:r>
              <a:rPr lang="de-AT" sz="900" dirty="0">
                <a:solidFill>
                  <a:schemeClr val="tx1"/>
                </a:solidFill>
                <a:latin typeface="+mj-lt"/>
              </a:rPr>
              <a:t> Life</a:t>
            </a:r>
            <a:br>
              <a:rPr lang="de-AT" sz="900" dirty="0">
                <a:solidFill>
                  <a:schemeClr val="tx1"/>
                </a:solidFill>
                <a:latin typeface="+mj-lt"/>
              </a:rPr>
            </a:br>
            <a:r>
              <a:rPr lang="de-AT" sz="900" dirty="0">
                <a:solidFill>
                  <a:schemeClr val="tx1"/>
                </a:solidFill>
                <a:latin typeface="+mj-lt"/>
              </a:rPr>
              <a:t>COLIBRI</a:t>
            </a:r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5988A79-148D-AEF8-51D1-E58B022FD7F7}"/>
              </a:ext>
            </a:extLst>
          </p:cNvPr>
          <p:cNvSpPr/>
          <p:nvPr/>
        </p:nvSpPr>
        <p:spPr>
          <a:xfrm>
            <a:off x="4338847" y="3884883"/>
            <a:ext cx="786369" cy="1258617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76000" rIns="36000" rtlCol="0" anchor="t" anchorCtr="0"/>
          <a:lstStyle/>
          <a:p>
            <a:pPr algn="ctr"/>
            <a:r>
              <a:rPr lang="de-AT" sz="900">
                <a:solidFill>
                  <a:schemeClr val="tx1"/>
                </a:solidFill>
                <a:latin typeface="+mj-lt"/>
              </a:rPr>
              <a:t>Dimensionen</a:t>
            </a:r>
            <a:br>
              <a:rPr lang="de-AT" sz="900">
                <a:solidFill>
                  <a:schemeClr val="tx1"/>
                </a:solidFill>
                <a:latin typeface="+mj-lt"/>
              </a:rPr>
            </a:br>
            <a:r>
              <a:rPr lang="de-AT" sz="900">
                <a:solidFill>
                  <a:schemeClr val="tx1"/>
                </a:solidFill>
                <a:latin typeface="+mj-lt"/>
              </a:rPr>
              <a:t>Europas</a:t>
            </a:r>
            <a:endParaRPr lang="de-AT" sz="9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0048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24EBDD0-861A-913B-2785-92D423F9B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0627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4EBDD0-861A-913B-2785-92D423F9B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FC4E322D-68E1-B4B1-8BA3-F7847F8F10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53889" y="0"/>
            <a:ext cx="6690111" cy="514350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7031C2D-D7DA-58F9-F81D-91FDFB628443}"/>
              </a:ext>
            </a:extLst>
          </p:cNvPr>
          <p:cNvSpPr/>
          <p:nvPr/>
        </p:nvSpPr>
        <p:spPr>
          <a:xfrm>
            <a:off x="-1" y="1"/>
            <a:ext cx="9144001" cy="1989734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1306FB73-9B31-A094-D64C-35A3EEACA8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3175" y="231775"/>
            <a:ext cx="900000" cy="7704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84BFB09-E74C-67F7-B60D-9B5E63267B42}"/>
              </a:ext>
            </a:extLst>
          </p:cNvPr>
          <p:cNvSpPr/>
          <p:nvPr/>
        </p:nvSpPr>
        <p:spPr>
          <a:xfrm>
            <a:off x="2447924" y="0"/>
            <a:ext cx="3228976" cy="51435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86AA98E-CB22-F4C1-7FAD-E738455C7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noProof="0" dirty="0"/>
              <a:t>Komplexe Fragen brauchen vernetztes Denk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1824A1A-17B2-8BEC-3923-4DA3F726B2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1512888"/>
            <a:ext cx="3648074" cy="3311525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de-AT" sz="2000" noProof="0" dirty="0">
                <a:latin typeface="+mj-lt"/>
              </a:rPr>
              <a:t>Wir machen interdisziplinäre Exzellenz möglich</a:t>
            </a:r>
          </a:p>
          <a:p>
            <a:pPr>
              <a:spcAft>
                <a:spcPts val="1200"/>
              </a:spcAft>
            </a:pPr>
            <a:r>
              <a:rPr lang="de-AT" noProof="0" dirty="0"/>
              <a:t>NAWI Graz, die Kooperation mit der </a:t>
            </a:r>
            <a:br>
              <a:rPr lang="de-AT" noProof="0" dirty="0"/>
            </a:br>
            <a:r>
              <a:rPr lang="de-AT" noProof="0" dirty="0"/>
              <a:t>TU Graz in den Naturwissenschaften</a:t>
            </a:r>
          </a:p>
          <a:p>
            <a:pPr>
              <a:spcAft>
                <a:spcPts val="1200"/>
              </a:spcAft>
            </a:pPr>
            <a:r>
              <a:rPr lang="de-AT" noProof="0" dirty="0"/>
              <a:t>Open Science-Initiativen</a:t>
            </a:r>
          </a:p>
          <a:p>
            <a:pPr>
              <a:spcAft>
                <a:spcPts val="1200"/>
              </a:spcAft>
            </a:pPr>
            <a:r>
              <a:rPr lang="de-AT" noProof="0" dirty="0"/>
              <a:t>Start-up &amp; Innovation Hub UNICORN</a:t>
            </a:r>
          </a:p>
          <a:p>
            <a:pPr>
              <a:spcAft>
                <a:spcPts val="1200"/>
              </a:spcAft>
            </a:pPr>
            <a:r>
              <a:rPr lang="de-AT" noProof="0" dirty="0"/>
              <a:t>Studium Computational </a:t>
            </a:r>
            <a:r>
              <a:rPr lang="de-AT" noProof="0" dirty="0" err="1"/>
              <a:t>Social</a:t>
            </a:r>
            <a:r>
              <a:rPr lang="de-AT" noProof="0" dirty="0"/>
              <a:t> Systems (gemeinsam mit TU Graz)</a:t>
            </a:r>
          </a:p>
          <a:p>
            <a:pPr>
              <a:spcAft>
                <a:spcPts val="1200"/>
              </a:spcAft>
            </a:pPr>
            <a:r>
              <a:rPr lang="de-AT" noProof="0" dirty="0"/>
              <a:t>Masterstudium Elementarpädagogik</a:t>
            </a:r>
          </a:p>
        </p:txBody>
      </p:sp>
    </p:spTree>
    <p:extLst>
      <p:ext uri="{BB962C8B-B14F-4D97-AF65-F5344CB8AC3E}">
        <p14:creationId xmlns:p14="http://schemas.microsoft.com/office/powerpoint/2010/main" val="3826956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Uni Graz">
      <a:dk1>
        <a:srgbClr val="000000"/>
      </a:dk1>
      <a:lt1>
        <a:srgbClr val="FFFFFF"/>
      </a:lt1>
      <a:dk2>
        <a:srgbClr val="C6C6C6"/>
      </a:dk2>
      <a:lt2>
        <a:srgbClr val="FFFFFF"/>
      </a:lt2>
      <a:accent1>
        <a:srgbClr val="FFD500"/>
      </a:accent1>
      <a:accent2>
        <a:srgbClr val="4B88C5"/>
      </a:accent2>
      <a:accent3>
        <a:srgbClr val="DE4926"/>
      </a:accent3>
      <a:accent4>
        <a:srgbClr val="7AB751"/>
      </a:accent4>
      <a:accent5>
        <a:srgbClr val="7D75B7"/>
      </a:accent5>
      <a:accent6>
        <a:srgbClr val="F38D39"/>
      </a:accent6>
      <a:hlink>
        <a:srgbClr val="000000"/>
      </a:hlink>
      <a:folHlink>
        <a:srgbClr val="000000"/>
      </a:folHlink>
    </a:clrScheme>
    <a:fontScheme name="Uni Graz">
      <a:majorFont>
        <a:latin typeface="Nunito Sans ExtraBold"/>
        <a:ea typeface=""/>
        <a:cs typeface=""/>
      </a:majorFont>
      <a:minorFont>
        <a:latin typeface="Nunit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36000" rtlCol="0">
        <a:no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iGraz_PPT_Vorlage_DE_Zusatzfolien_v3" id="{CA809CFC-5C39-4954-9667-F7DB7C60FF07}" vid="{95C6B086-E230-4376-B1A6-20709C234EB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2</Words>
  <Application>Microsoft Office PowerPoint</Application>
  <PresentationFormat>Bildschirmpräsentation (16:9)</PresentationFormat>
  <Paragraphs>112</Paragraphs>
  <Slides>14</Slides>
  <Notes>14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3" baseType="lpstr">
      <vt:lpstr>Arial</vt:lpstr>
      <vt:lpstr>Calibri</vt:lpstr>
      <vt:lpstr>Courier New</vt:lpstr>
      <vt:lpstr>Lato Light</vt:lpstr>
      <vt:lpstr>Nunito Sans ExtraBold</vt:lpstr>
      <vt:lpstr>Nunito Sans Light</vt:lpstr>
      <vt:lpstr>Wingdings 3</vt:lpstr>
      <vt:lpstr>Office</vt:lpstr>
      <vt:lpstr>think-cell Folie</vt:lpstr>
      <vt:lpstr>Lösungen für die Welt von morgen</vt:lpstr>
      <vt:lpstr>Über 400 Jahren im Auftrag  der Wissenschaft</vt:lpstr>
      <vt:lpstr>Wissensdurst seit 1585</vt:lpstr>
      <vt:lpstr>Unsere Forschungstradition trifft  auf neue Herausforderungen </vt:lpstr>
      <vt:lpstr>Wir antworten mit Wissenschaft für die Welt von morgen</vt:lpstr>
      <vt:lpstr>Großen globalen Veränderungen begegnen wir mit internationaler Spitzenforschung</vt:lpstr>
      <vt:lpstr>Forschung,  die Geschichte  neu schreibt</vt:lpstr>
      <vt:lpstr>Wir gestalten Wandel  aktiv und langfristig</vt:lpstr>
      <vt:lpstr>Komplexe Fragen brauchen vernetztes Denken</vt:lpstr>
      <vt:lpstr>Wir tragen Wissen  in die Gesellschaft</vt:lpstr>
      <vt:lpstr>Deine Reise  beginnt jetzt</vt:lpstr>
      <vt:lpstr>Universität ohne Grenzen</vt:lpstr>
      <vt:lpstr>Werde Teil unserer Mission</vt:lpstr>
      <vt:lpstr>Willkommen an der Universität Graz</vt:lpstr>
    </vt:vector>
  </TitlesOfParts>
  <Manager>Uni Graz</Manager>
  <Company>Uni Gra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 work for tomorrow</dc:title>
  <dc:creator>Tuscher, Gerlinde (gerlinde.tuscher@uni-graz.at)</dc:creator>
  <cp:lastModifiedBy>Schneider, Antonia (antonia.schneider@uni-graz.at)</cp:lastModifiedBy>
  <cp:revision>68</cp:revision>
  <dcterms:created xsi:type="dcterms:W3CDTF">2024-08-07T08:50:56Z</dcterms:created>
  <dcterms:modified xsi:type="dcterms:W3CDTF">2025-10-14T10:58:51Z</dcterms:modified>
</cp:coreProperties>
</file>